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61" r:id="rId5"/>
    <p:sldMasterId id="2147483681" r:id="rId6"/>
  </p:sldMasterIdLst>
  <p:notesMasterIdLst>
    <p:notesMasterId r:id="rId31"/>
  </p:notesMasterIdLst>
  <p:sldIdLst>
    <p:sldId id="312" r:id="rId7"/>
    <p:sldId id="487" r:id="rId8"/>
    <p:sldId id="316" r:id="rId9"/>
    <p:sldId id="690" r:id="rId10"/>
    <p:sldId id="727" r:id="rId11"/>
    <p:sldId id="738" r:id="rId12"/>
    <p:sldId id="739" r:id="rId13"/>
    <p:sldId id="741" r:id="rId14"/>
    <p:sldId id="740" r:id="rId15"/>
    <p:sldId id="743" r:id="rId16"/>
    <p:sldId id="701" r:id="rId17"/>
    <p:sldId id="728" r:id="rId18"/>
    <p:sldId id="729" r:id="rId19"/>
    <p:sldId id="730" r:id="rId20"/>
    <p:sldId id="731" r:id="rId21"/>
    <p:sldId id="732" r:id="rId22"/>
    <p:sldId id="733" r:id="rId23"/>
    <p:sldId id="744" r:id="rId24"/>
    <p:sldId id="734" r:id="rId25"/>
    <p:sldId id="735" r:id="rId26"/>
    <p:sldId id="736" r:id="rId27"/>
    <p:sldId id="737" r:id="rId28"/>
    <p:sldId id="513" r:id="rId29"/>
    <p:sldId id="272" r:id="rId30"/>
  </p:sldIdLst>
  <p:sldSz cx="9144000" cy="5143500" type="screen16x9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EFCC3F31-0D2C-4E14-9DE9-F8EB7C2C2CA4}">
          <p14:sldIdLst>
            <p14:sldId id="312"/>
            <p14:sldId id="487"/>
            <p14:sldId id="316"/>
            <p14:sldId id="690"/>
            <p14:sldId id="727"/>
            <p14:sldId id="738"/>
            <p14:sldId id="739"/>
            <p14:sldId id="741"/>
            <p14:sldId id="740"/>
            <p14:sldId id="743"/>
            <p14:sldId id="701"/>
            <p14:sldId id="728"/>
            <p14:sldId id="729"/>
            <p14:sldId id="730"/>
            <p14:sldId id="731"/>
            <p14:sldId id="732"/>
            <p14:sldId id="733"/>
            <p14:sldId id="744"/>
            <p14:sldId id="734"/>
            <p14:sldId id="735"/>
            <p14:sldId id="736"/>
            <p14:sldId id="737"/>
            <p14:sldId id="513"/>
            <p14:sldId id="27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laus Bitschi" initials="KB" lastIdx="2" clrIdx="0">
    <p:extLst>
      <p:ext uri="{19B8F6BF-5375-455C-9EA6-DF929625EA0E}">
        <p15:presenceInfo xmlns:p15="http://schemas.microsoft.com/office/powerpoint/2012/main" userId="S-1-5-21-1957994488-1682526488-2146701187-3029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E849"/>
    <a:srgbClr val="FF0066"/>
    <a:srgbClr val="EC20B7"/>
    <a:srgbClr val="01E4EF"/>
    <a:srgbClr val="4F81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39" d="100"/>
          <a:sy n="139" d="100"/>
        </p:scale>
        <p:origin x="918" y="126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itschi Klaus" userId="be151f9e-4017-4512-bd12-7566c28afe2f" providerId="ADAL" clId="{2C95113B-5829-49F7-B48E-E265FBC01128}"/>
    <pc:docChg chg="modSld">
      <pc:chgData name="Bitschi Klaus" userId="be151f9e-4017-4512-bd12-7566c28afe2f" providerId="ADAL" clId="{2C95113B-5829-49F7-B48E-E265FBC01128}" dt="2024-05-22T18:56:13.442" v="13" actId="20577"/>
      <pc:docMkLst>
        <pc:docMk/>
      </pc:docMkLst>
      <pc:sldChg chg="modSp mod">
        <pc:chgData name="Bitschi Klaus" userId="be151f9e-4017-4512-bd12-7566c28afe2f" providerId="ADAL" clId="{2C95113B-5829-49F7-B48E-E265FBC01128}" dt="2024-05-22T18:56:13.442" v="13" actId="20577"/>
        <pc:sldMkLst>
          <pc:docMk/>
          <pc:sldMk cId="4099106102" sldId="312"/>
        </pc:sldMkLst>
        <pc:spChg chg="mod">
          <ac:chgData name="Bitschi Klaus" userId="be151f9e-4017-4512-bd12-7566c28afe2f" providerId="ADAL" clId="{2C95113B-5829-49F7-B48E-E265FBC01128}" dt="2024-05-22T18:56:13.442" v="13" actId="20577"/>
          <ac:spMkLst>
            <pc:docMk/>
            <pc:sldMk cId="4099106102" sldId="312"/>
            <ac:spMk id="11" creationId="{00000000-0000-0000-0000-000000000000}"/>
          </ac:spMkLst>
        </pc:spChg>
      </pc:sldChg>
    </pc:docChg>
  </pc:docChgLst>
  <pc:docChgLst>
    <pc:chgData name="Harsch Mariella" userId="af3db518-7df8-4387-8529-604a66aed99c" providerId="ADAL" clId="{1D284F8B-60D1-4316-BC1D-7C3B1AB24660}"/>
    <pc:docChg chg="delSld modSection">
      <pc:chgData name="Harsch Mariella" userId="af3db518-7df8-4387-8529-604a66aed99c" providerId="ADAL" clId="{1D284F8B-60D1-4316-BC1D-7C3B1AB24660}" dt="2024-05-23T16:38:07.067" v="0" actId="2696"/>
      <pc:docMkLst>
        <pc:docMk/>
      </pc:docMkLst>
      <pc:sldChg chg="del">
        <pc:chgData name="Harsch Mariella" userId="af3db518-7df8-4387-8529-604a66aed99c" providerId="ADAL" clId="{1D284F8B-60D1-4316-BC1D-7C3B1AB24660}" dt="2024-05-23T16:38:07.067" v="0" actId="2696"/>
        <pc:sldMkLst>
          <pc:docMk/>
          <pc:sldMk cId="3507788170" sldId="745"/>
        </pc:sldMkLst>
      </pc:sldChg>
    </pc:docChg>
  </pc:docChgLst>
  <pc:docChgLst>
    <pc:chgData name="Bitschi Klaus" userId="be151f9e-4017-4512-bd12-7566c28afe2f" providerId="ADAL" clId="{E82091F1-98FB-416D-8C15-6657EA98CE27}"/>
    <pc:docChg chg="undo custSel addSld delSld modSld sldOrd modSection">
      <pc:chgData name="Bitschi Klaus" userId="be151f9e-4017-4512-bd12-7566c28afe2f" providerId="ADAL" clId="{E82091F1-98FB-416D-8C15-6657EA98CE27}" dt="2024-03-11T18:26:09.453" v="9988" actId="20577"/>
      <pc:docMkLst>
        <pc:docMk/>
      </pc:docMkLst>
      <pc:sldChg chg="addSp delSp modSp mod">
        <pc:chgData name="Bitschi Klaus" userId="be151f9e-4017-4512-bd12-7566c28afe2f" providerId="ADAL" clId="{E82091F1-98FB-416D-8C15-6657EA98CE27}" dt="2024-03-11T17:52:27.322" v="9889" actId="20577"/>
        <pc:sldMkLst>
          <pc:docMk/>
          <pc:sldMk cId="4099106102" sldId="312"/>
        </pc:sldMkLst>
        <pc:spChg chg="mod">
          <ac:chgData name="Bitschi Klaus" userId="be151f9e-4017-4512-bd12-7566c28afe2f" providerId="ADAL" clId="{E82091F1-98FB-416D-8C15-6657EA98CE27}" dt="2024-03-11T17:52:27.322" v="9889" actId="20577"/>
          <ac:spMkLst>
            <pc:docMk/>
            <pc:sldMk cId="4099106102" sldId="312"/>
            <ac:spMk id="11" creationId="{00000000-0000-0000-0000-000000000000}"/>
          </ac:spMkLst>
        </pc:spChg>
        <pc:picChg chg="del">
          <ac:chgData name="Bitschi Klaus" userId="be151f9e-4017-4512-bd12-7566c28afe2f" providerId="ADAL" clId="{E82091F1-98FB-416D-8C15-6657EA98CE27}" dt="2024-03-11T17:51:33.062" v="9884" actId="478"/>
          <ac:picMkLst>
            <pc:docMk/>
            <pc:sldMk cId="4099106102" sldId="312"/>
            <ac:picMk id="3" creationId="{4973E6DB-E200-3869-F92D-557EFA6C81BE}"/>
          </ac:picMkLst>
        </pc:picChg>
        <pc:picChg chg="add mod ord">
          <ac:chgData name="Bitschi Klaus" userId="be151f9e-4017-4512-bd12-7566c28afe2f" providerId="ADAL" clId="{E82091F1-98FB-416D-8C15-6657EA98CE27}" dt="2024-03-11T17:52:02.679" v="9888" actId="14100"/>
          <ac:picMkLst>
            <pc:docMk/>
            <pc:sldMk cId="4099106102" sldId="312"/>
            <ac:picMk id="4" creationId="{8566C379-3DFD-7E40-8BED-67EDC88C2EDB}"/>
          </ac:picMkLst>
        </pc:picChg>
      </pc:sldChg>
      <pc:sldChg chg="modSp mod">
        <pc:chgData name="Bitschi Klaus" userId="be151f9e-4017-4512-bd12-7566c28afe2f" providerId="ADAL" clId="{E82091F1-98FB-416D-8C15-6657EA98CE27}" dt="2024-03-11T18:26:09.453" v="9988" actId="20577"/>
        <pc:sldMkLst>
          <pc:docMk/>
          <pc:sldMk cId="1928214937" sldId="316"/>
        </pc:sldMkLst>
        <pc:spChg chg="mod">
          <ac:chgData name="Bitschi Klaus" userId="be151f9e-4017-4512-bd12-7566c28afe2f" providerId="ADAL" clId="{E82091F1-98FB-416D-8C15-6657EA98CE27}" dt="2024-03-11T18:26:09.453" v="9988" actId="20577"/>
          <ac:spMkLst>
            <pc:docMk/>
            <pc:sldMk cId="1928214937" sldId="316"/>
            <ac:spMk id="6" creationId="{00000000-0000-0000-0000-000000000000}"/>
          </ac:spMkLst>
        </pc:spChg>
      </pc:sldChg>
      <pc:sldChg chg="addSp delSp modSp mod">
        <pc:chgData name="Bitschi Klaus" userId="be151f9e-4017-4512-bd12-7566c28afe2f" providerId="ADAL" clId="{E82091F1-98FB-416D-8C15-6657EA98CE27}" dt="2024-03-10T15:37:54.510" v="127" actId="14100"/>
        <pc:sldMkLst>
          <pc:docMk/>
          <pc:sldMk cId="703606866" sldId="487"/>
        </pc:sldMkLst>
        <pc:spChg chg="del mod">
          <ac:chgData name="Bitschi Klaus" userId="be151f9e-4017-4512-bd12-7566c28afe2f" providerId="ADAL" clId="{E82091F1-98FB-416D-8C15-6657EA98CE27}" dt="2024-03-10T15:36:44.152" v="98" actId="478"/>
          <ac:spMkLst>
            <pc:docMk/>
            <pc:sldMk cId="703606866" sldId="487"/>
            <ac:spMk id="10" creationId="{742ECE98-54D9-DF25-3F45-50BB5154DDBF}"/>
          </ac:spMkLst>
        </pc:spChg>
        <pc:spChg chg="add mod">
          <ac:chgData name="Bitschi Klaus" userId="be151f9e-4017-4512-bd12-7566c28afe2f" providerId="ADAL" clId="{E82091F1-98FB-416D-8C15-6657EA98CE27}" dt="2024-03-10T15:37:54.510" v="127" actId="14100"/>
          <ac:spMkLst>
            <pc:docMk/>
            <pc:sldMk cId="703606866" sldId="487"/>
            <ac:spMk id="11" creationId="{193BAA08-12F8-434E-AEC8-1F3ECEBDB443}"/>
          </ac:spMkLst>
        </pc:spChg>
      </pc:sldChg>
      <pc:sldChg chg="modSp mod">
        <pc:chgData name="Bitschi Klaus" userId="be151f9e-4017-4512-bd12-7566c28afe2f" providerId="ADAL" clId="{E82091F1-98FB-416D-8C15-6657EA98CE27}" dt="2024-03-10T20:42:17.435" v="1264" actId="20577"/>
        <pc:sldMkLst>
          <pc:docMk/>
          <pc:sldMk cId="3218793316" sldId="513"/>
        </pc:sldMkLst>
        <pc:spChg chg="mod">
          <ac:chgData name="Bitschi Klaus" userId="be151f9e-4017-4512-bd12-7566c28afe2f" providerId="ADAL" clId="{E82091F1-98FB-416D-8C15-6657EA98CE27}" dt="2024-03-10T20:42:17.435" v="1264" actId="20577"/>
          <ac:spMkLst>
            <pc:docMk/>
            <pc:sldMk cId="3218793316" sldId="513"/>
            <ac:spMk id="2" creationId="{00000000-0000-0000-0000-000000000000}"/>
          </ac:spMkLst>
        </pc:spChg>
      </pc:sldChg>
      <pc:sldChg chg="del">
        <pc:chgData name="Bitschi Klaus" userId="be151f9e-4017-4512-bd12-7566c28afe2f" providerId="ADAL" clId="{E82091F1-98FB-416D-8C15-6657EA98CE27}" dt="2024-03-10T20:41:00.813" v="1155" actId="47"/>
        <pc:sldMkLst>
          <pc:docMk/>
          <pc:sldMk cId="2855785536" sldId="614"/>
        </pc:sldMkLst>
      </pc:sldChg>
      <pc:sldChg chg="addSp delSp modSp mod">
        <pc:chgData name="Bitschi Klaus" userId="be151f9e-4017-4512-bd12-7566c28afe2f" providerId="ADAL" clId="{E82091F1-98FB-416D-8C15-6657EA98CE27}" dt="2024-03-10T15:56:27.702" v="450" actId="14100"/>
        <pc:sldMkLst>
          <pc:docMk/>
          <pc:sldMk cId="2330718853" sldId="690"/>
        </pc:sldMkLst>
        <pc:spChg chg="del mod">
          <ac:chgData name="Bitschi Klaus" userId="be151f9e-4017-4512-bd12-7566c28afe2f" providerId="ADAL" clId="{E82091F1-98FB-416D-8C15-6657EA98CE27}" dt="2024-03-10T15:44:13.694" v="420" actId="478"/>
          <ac:spMkLst>
            <pc:docMk/>
            <pc:sldMk cId="2330718853" sldId="690"/>
            <ac:spMk id="3" creationId="{4A296D60-3631-2822-D379-8C900D7DAA40}"/>
          </ac:spMkLst>
        </pc:spChg>
        <pc:spChg chg="del mod">
          <ac:chgData name="Bitschi Klaus" userId="be151f9e-4017-4512-bd12-7566c28afe2f" providerId="ADAL" clId="{E82091F1-98FB-416D-8C15-6657EA98CE27}" dt="2024-03-10T15:44:13.694" v="420" actId="478"/>
          <ac:spMkLst>
            <pc:docMk/>
            <pc:sldMk cId="2330718853" sldId="690"/>
            <ac:spMk id="6" creationId="{4BD01D2F-2B90-01B4-0E32-28B087BACBBC}"/>
          </ac:spMkLst>
        </pc:spChg>
        <pc:spChg chg="del mod">
          <ac:chgData name="Bitschi Klaus" userId="be151f9e-4017-4512-bd12-7566c28afe2f" providerId="ADAL" clId="{E82091F1-98FB-416D-8C15-6657EA98CE27}" dt="2024-03-10T15:44:13.694" v="420" actId="478"/>
          <ac:spMkLst>
            <pc:docMk/>
            <pc:sldMk cId="2330718853" sldId="690"/>
            <ac:spMk id="7" creationId="{F4DCBDBD-35D4-F4EB-CA17-1F8C5AC4057B}"/>
          </ac:spMkLst>
        </pc:spChg>
        <pc:spChg chg="mod">
          <ac:chgData name="Bitschi Klaus" userId="be151f9e-4017-4512-bd12-7566c28afe2f" providerId="ADAL" clId="{E82091F1-98FB-416D-8C15-6657EA98CE27}" dt="2024-03-10T15:44:44.077" v="421" actId="5793"/>
          <ac:spMkLst>
            <pc:docMk/>
            <pc:sldMk cId="2330718853" sldId="690"/>
            <ac:spMk id="12" creationId="{A1E8D15B-289C-4E1D-B267-AC0E7EB44BD9}"/>
          </ac:spMkLst>
        </pc:spChg>
        <pc:graphicFrameChg chg="add mod">
          <ac:chgData name="Bitschi Klaus" userId="be151f9e-4017-4512-bd12-7566c28afe2f" providerId="ADAL" clId="{E82091F1-98FB-416D-8C15-6657EA98CE27}" dt="2024-03-10T15:49:46.413" v="422"/>
          <ac:graphicFrameMkLst>
            <pc:docMk/>
            <pc:sldMk cId="2330718853" sldId="690"/>
            <ac:graphicFrameMk id="8" creationId="{85D07385-5814-E1BA-2C8E-0453E4DAABAB}"/>
          </ac:graphicFrameMkLst>
        </pc:graphicFrameChg>
        <pc:graphicFrameChg chg="add del mod">
          <ac:chgData name="Bitschi Klaus" userId="be151f9e-4017-4512-bd12-7566c28afe2f" providerId="ADAL" clId="{E82091F1-98FB-416D-8C15-6657EA98CE27}" dt="2024-03-10T15:50:51.066" v="427" actId="478"/>
          <ac:graphicFrameMkLst>
            <pc:docMk/>
            <pc:sldMk cId="2330718853" sldId="690"/>
            <ac:graphicFrameMk id="9" creationId="{BD4DB7A6-EE87-5599-FEA0-90855DCE98C3}"/>
          </ac:graphicFrameMkLst>
        </pc:graphicFrameChg>
        <pc:graphicFrameChg chg="add del mod modGraphic">
          <ac:chgData name="Bitschi Klaus" userId="be151f9e-4017-4512-bd12-7566c28afe2f" providerId="ADAL" clId="{E82091F1-98FB-416D-8C15-6657EA98CE27}" dt="2024-03-10T15:51:27.523" v="432" actId="478"/>
          <ac:graphicFrameMkLst>
            <pc:docMk/>
            <pc:sldMk cId="2330718853" sldId="690"/>
            <ac:graphicFrameMk id="11" creationId="{B9C0010B-0DFE-8D07-A509-549116EAA219}"/>
          </ac:graphicFrameMkLst>
        </pc:graphicFrameChg>
        <pc:graphicFrameChg chg="add mod modGraphic">
          <ac:chgData name="Bitschi Klaus" userId="be151f9e-4017-4512-bd12-7566c28afe2f" providerId="ADAL" clId="{E82091F1-98FB-416D-8C15-6657EA98CE27}" dt="2024-03-10T15:56:27.702" v="450" actId="14100"/>
          <ac:graphicFrameMkLst>
            <pc:docMk/>
            <pc:sldMk cId="2330718853" sldId="690"/>
            <ac:graphicFrameMk id="16" creationId="{01F71476-32A0-B6C9-DAC0-BB972BF6D36C}"/>
          </ac:graphicFrameMkLst>
        </pc:graphicFrameChg>
        <pc:picChg chg="add del mod">
          <ac:chgData name="Bitschi Klaus" userId="be151f9e-4017-4512-bd12-7566c28afe2f" providerId="ADAL" clId="{E82091F1-98FB-416D-8C15-6657EA98CE27}" dt="2024-03-10T15:53:09.635" v="436" actId="478"/>
          <ac:picMkLst>
            <pc:docMk/>
            <pc:sldMk cId="2330718853" sldId="690"/>
            <ac:picMk id="13" creationId="{1AFF5A2B-1AF1-035E-58F0-DF2452B4B83E}"/>
          </ac:picMkLst>
        </pc:picChg>
        <pc:picChg chg="add del mod">
          <ac:chgData name="Bitschi Klaus" userId="be151f9e-4017-4512-bd12-7566c28afe2f" providerId="ADAL" clId="{E82091F1-98FB-416D-8C15-6657EA98CE27}" dt="2024-03-10T15:55:14.941" v="439" actId="478"/>
          <ac:picMkLst>
            <pc:docMk/>
            <pc:sldMk cId="2330718853" sldId="690"/>
            <ac:picMk id="15" creationId="{95F50EC7-F0BB-BCFB-2029-9422ADB71C0D}"/>
          </ac:picMkLst>
        </pc:picChg>
      </pc:sldChg>
      <pc:sldChg chg="modSp del mod">
        <pc:chgData name="Bitschi Klaus" userId="be151f9e-4017-4512-bd12-7566c28afe2f" providerId="ADAL" clId="{E82091F1-98FB-416D-8C15-6657EA98CE27}" dt="2024-03-11T07:30:01.129" v="4811" actId="47"/>
        <pc:sldMkLst>
          <pc:docMk/>
          <pc:sldMk cId="2845293136" sldId="691"/>
        </pc:sldMkLst>
        <pc:spChg chg="mod">
          <ac:chgData name="Bitschi Klaus" userId="be151f9e-4017-4512-bd12-7566c28afe2f" providerId="ADAL" clId="{E82091F1-98FB-416D-8C15-6657EA98CE27}" dt="2024-03-10T20:40:51.760" v="1153" actId="20577"/>
          <ac:spMkLst>
            <pc:docMk/>
            <pc:sldMk cId="2845293136" sldId="691"/>
            <ac:spMk id="2" creationId="{00000000-0000-0000-0000-000000000000}"/>
          </ac:spMkLst>
        </pc:spChg>
        <pc:spChg chg="mod">
          <ac:chgData name="Bitschi Klaus" userId="be151f9e-4017-4512-bd12-7566c28afe2f" providerId="ADAL" clId="{E82091F1-98FB-416D-8C15-6657EA98CE27}" dt="2024-03-10T15:29:54.364" v="61" actId="20577"/>
          <ac:spMkLst>
            <pc:docMk/>
            <pc:sldMk cId="2845293136" sldId="691"/>
            <ac:spMk id="7" creationId="{9740247E-0748-DCEB-8A71-3B6864E38731}"/>
          </ac:spMkLst>
        </pc:spChg>
      </pc:sldChg>
      <pc:sldChg chg="addSp delSp modSp mod ord">
        <pc:chgData name="Bitschi Klaus" userId="be151f9e-4017-4512-bd12-7566c28afe2f" providerId="ADAL" clId="{E82091F1-98FB-416D-8C15-6657EA98CE27}" dt="2024-03-11T07:31:50.361" v="4880" actId="20577"/>
        <pc:sldMkLst>
          <pc:docMk/>
          <pc:sldMk cId="3121820559" sldId="701"/>
        </pc:sldMkLst>
        <pc:spChg chg="mod">
          <ac:chgData name="Bitschi Klaus" userId="be151f9e-4017-4512-bd12-7566c28afe2f" providerId="ADAL" clId="{E82091F1-98FB-416D-8C15-6657EA98CE27}" dt="2024-03-11T07:31:50.361" v="4880" actId="20577"/>
          <ac:spMkLst>
            <pc:docMk/>
            <pc:sldMk cId="3121820559" sldId="701"/>
            <ac:spMk id="2" creationId="{00000000-0000-0000-0000-000000000000}"/>
          </ac:spMkLst>
        </pc:spChg>
        <pc:spChg chg="mod">
          <ac:chgData name="Bitschi Klaus" userId="be151f9e-4017-4512-bd12-7566c28afe2f" providerId="ADAL" clId="{E82091F1-98FB-416D-8C15-6657EA98CE27}" dt="2024-03-11T07:26:42.972" v="4768" actId="1035"/>
          <ac:spMkLst>
            <pc:docMk/>
            <pc:sldMk cId="3121820559" sldId="701"/>
            <ac:spMk id="3" creationId="{9B621921-30CE-3F16-79D3-43AC8E57A51F}"/>
          </ac:spMkLst>
        </pc:spChg>
        <pc:spChg chg="mod">
          <ac:chgData name="Bitschi Klaus" userId="be151f9e-4017-4512-bd12-7566c28afe2f" providerId="ADAL" clId="{E82091F1-98FB-416D-8C15-6657EA98CE27}" dt="2024-03-11T07:26:42.972" v="4768" actId="1035"/>
          <ac:spMkLst>
            <pc:docMk/>
            <pc:sldMk cId="3121820559" sldId="701"/>
            <ac:spMk id="7" creationId="{DD831E69-7760-AB90-A65D-F17CAEBD57A2}"/>
          </ac:spMkLst>
        </pc:spChg>
        <pc:spChg chg="del">
          <ac:chgData name="Bitschi Klaus" userId="be151f9e-4017-4512-bd12-7566c28afe2f" providerId="ADAL" clId="{E82091F1-98FB-416D-8C15-6657EA98CE27}" dt="2024-03-11T07:22:47.651" v="4692" actId="478"/>
          <ac:spMkLst>
            <pc:docMk/>
            <pc:sldMk cId="3121820559" sldId="701"/>
            <ac:spMk id="8" creationId="{0D37E950-CA37-7B11-63E4-6181E89F5C8F}"/>
          </ac:spMkLst>
        </pc:spChg>
        <pc:spChg chg="add mod">
          <ac:chgData name="Bitschi Klaus" userId="be151f9e-4017-4512-bd12-7566c28afe2f" providerId="ADAL" clId="{E82091F1-98FB-416D-8C15-6657EA98CE27}" dt="2024-03-11T07:28:04.919" v="4807" actId="20577"/>
          <ac:spMkLst>
            <pc:docMk/>
            <pc:sldMk cId="3121820559" sldId="701"/>
            <ac:spMk id="10" creationId="{4E05CB52-3B5B-9BD9-7EAE-03B78F0CFBAC}"/>
          </ac:spMkLst>
        </pc:spChg>
        <pc:picChg chg="add mod">
          <ac:chgData name="Bitschi Klaus" userId="be151f9e-4017-4512-bd12-7566c28afe2f" providerId="ADAL" clId="{E82091F1-98FB-416D-8C15-6657EA98CE27}" dt="2024-03-11T07:28:32.863" v="4809" actId="1076"/>
          <ac:picMkLst>
            <pc:docMk/>
            <pc:sldMk cId="3121820559" sldId="701"/>
            <ac:picMk id="9" creationId="{3836885C-973B-9CCA-4B1E-50293CD35790}"/>
          </ac:picMkLst>
        </pc:picChg>
        <pc:inkChg chg="add">
          <ac:chgData name="Bitschi Klaus" userId="be151f9e-4017-4512-bd12-7566c28afe2f" providerId="ADAL" clId="{E82091F1-98FB-416D-8C15-6657EA98CE27}" dt="2024-03-11T07:29:22.722" v="4810" actId="9405"/>
          <ac:inkMkLst>
            <pc:docMk/>
            <pc:sldMk cId="3121820559" sldId="701"/>
            <ac:inkMk id="11" creationId="{51C5BB9E-78C9-D4FA-007C-698C6D7DEE1A}"/>
          </ac:inkMkLst>
        </pc:inkChg>
      </pc:sldChg>
      <pc:sldChg chg="del">
        <pc:chgData name="Bitschi Klaus" userId="be151f9e-4017-4512-bd12-7566c28afe2f" providerId="ADAL" clId="{E82091F1-98FB-416D-8C15-6657EA98CE27}" dt="2024-03-10T20:40:58.421" v="1154" actId="47"/>
        <pc:sldMkLst>
          <pc:docMk/>
          <pc:sldMk cId="1765106088" sldId="720"/>
        </pc:sldMkLst>
      </pc:sldChg>
      <pc:sldChg chg="del">
        <pc:chgData name="Bitschi Klaus" userId="be151f9e-4017-4512-bd12-7566c28afe2f" providerId="ADAL" clId="{E82091F1-98FB-416D-8C15-6657EA98CE27}" dt="2024-03-10T20:41:02.719" v="1156" actId="47"/>
        <pc:sldMkLst>
          <pc:docMk/>
          <pc:sldMk cId="3250222262" sldId="721"/>
        </pc:sldMkLst>
      </pc:sldChg>
      <pc:sldChg chg="del">
        <pc:chgData name="Bitschi Klaus" userId="be151f9e-4017-4512-bd12-7566c28afe2f" providerId="ADAL" clId="{E82091F1-98FB-416D-8C15-6657EA98CE27}" dt="2024-03-10T20:41:04.217" v="1157" actId="47"/>
        <pc:sldMkLst>
          <pc:docMk/>
          <pc:sldMk cId="3613610171" sldId="722"/>
        </pc:sldMkLst>
      </pc:sldChg>
      <pc:sldChg chg="del">
        <pc:chgData name="Bitschi Klaus" userId="be151f9e-4017-4512-bd12-7566c28afe2f" providerId="ADAL" clId="{E82091F1-98FB-416D-8C15-6657EA98CE27}" dt="2024-03-10T20:41:12.646" v="1158" actId="47"/>
        <pc:sldMkLst>
          <pc:docMk/>
          <pc:sldMk cId="220638290" sldId="723"/>
        </pc:sldMkLst>
      </pc:sldChg>
      <pc:sldChg chg="del">
        <pc:chgData name="Bitschi Klaus" userId="be151f9e-4017-4512-bd12-7566c28afe2f" providerId="ADAL" clId="{E82091F1-98FB-416D-8C15-6657EA98CE27}" dt="2024-03-10T20:41:59.685" v="1261" actId="47"/>
        <pc:sldMkLst>
          <pc:docMk/>
          <pc:sldMk cId="591724154" sldId="724"/>
        </pc:sldMkLst>
      </pc:sldChg>
      <pc:sldChg chg="del">
        <pc:chgData name="Bitschi Klaus" userId="be151f9e-4017-4512-bd12-7566c28afe2f" providerId="ADAL" clId="{E82091F1-98FB-416D-8C15-6657EA98CE27}" dt="2024-03-10T20:42:02.378" v="1262" actId="47"/>
        <pc:sldMkLst>
          <pc:docMk/>
          <pc:sldMk cId="197071366" sldId="725"/>
        </pc:sldMkLst>
      </pc:sldChg>
      <pc:sldChg chg="del">
        <pc:chgData name="Bitschi Klaus" userId="be151f9e-4017-4512-bd12-7566c28afe2f" providerId="ADAL" clId="{E82091F1-98FB-416D-8C15-6657EA98CE27}" dt="2024-03-10T20:42:04.791" v="1263" actId="47"/>
        <pc:sldMkLst>
          <pc:docMk/>
          <pc:sldMk cId="2783389715" sldId="726"/>
        </pc:sldMkLst>
      </pc:sldChg>
      <pc:sldChg chg="delSp modSp add mod">
        <pc:chgData name="Bitschi Klaus" userId="be151f9e-4017-4512-bd12-7566c28afe2f" providerId="ADAL" clId="{E82091F1-98FB-416D-8C15-6657EA98CE27}" dt="2024-03-11T15:28:00.880" v="9820" actId="113"/>
        <pc:sldMkLst>
          <pc:docMk/>
          <pc:sldMk cId="2755726514" sldId="727"/>
        </pc:sldMkLst>
        <pc:spChg chg="mod">
          <ac:chgData name="Bitschi Klaus" userId="be151f9e-4017-4512-bd12-7566c28afe2f" providerId="ADAL" clId="{E82091F1-98FB-416D-8C15-6657EA98CE27}" dt="2024-03-10T15:59:18.842" v="503" actId="1035"/>
          <ac:spMkLst>
            <pc:docMk/>
            <pc:sldMk cId="2755726514" sldId="727"/>
            <ac:spMk id="3" creationId="{4A296D60-3631-2822-D379-8C900D7DAA40}"/>
          </ac:spMkLst>
        </pc:spChg>
        <pc:spChg chg="mod">
          <ac:chgData name="Bitschi Klaus" userId="be151f9e-4017-4512-bd12-7566c28afe2f" providerId="ADAL" clId="{E82091F1-98FB-416D-8C15-6657EA98CE27}" dt="2024-03-10T15:59:18.842" v="503" actId="1035"/>
          <ac:spMkLst>
            <pc:docMk/>
            <pc:sldMk cId="2755726514" sldId="727"/>
            <ac:spMk id="6" creationId="{4BD01D2F-2B90-01B4-0E32-28B087BACBBC}"/>
          </ac:spMkLst>
        </pc:spChg>
        <pc:spChg chg="mod">
          <ac:chgData name="Bitschi Klaus" userId="be151f9e-4017-4512-bd12-7566c28afe2f" providerId="ADAL" clId="{E82091F1-98FB-416D-8C15-6657EA98CE27}" dt="2024-03-11T15:28:00.880" v="9820" actId="113"/>
          <ac:spMkLst>
            <pc:docMk/>
            <pc:sldMk cId="2755726514" sldId="727"/>
            <ac:spMk id="7" creationId="{F4DCBDBD-35D4-F4EB-CA17-1F8C5AC4057B}"/>
          </ac:spMkLst>
        </pc:spChg>
        <pc:spChg chg="del">
          <ac:chgData name="Bitschi Klaus" userId="be151f9e-4017-4512-bd12-7566c28afe2f" providerId="ADAL" clId="{E82091F1-98FB-416D-8C15-6657EA98CE27}" dt="2024-03-10T15:58:52.595" v="451" actId="478"/>
          <ac:spMkLst>
            <pc:docMk/>
            <pc:sldMk cId="2755726514" sldId="727"/>
            <ac:spMk id="10" creationId="{00000000-0000-0000-0000-000000000000}"/>
          </ac:spMkLst>
        </pc:spChg>
        <pc:spChg chg="del">
          <ac:chgData name="Bitschi Klaus" userId="be151f9e-4017-4512-bd12-7566c28afe2f" providerId="ADAL" clId="{E82091F1-98FB-416D-8C15-6657EA98CE27}" dt="2024-03-10T15:58:59.745" v="452" actId="478"/>
          <ac:spMkLst>
            <pc:docMk/>
            <pc:sldMk cId="2755726514" sldId="727"/>
            <ac:spMk id="12" creationId="{A1E8D15B-289C-4E1D-B267-AC0E7EB44BD9}"/>
          </ac:spMkLst>
        </pc:spChg>
        <pc:spChg chg="del">
          <ac:chgData name="Bitschi Klaus" userId="be151f9e-4017-4512-bd12-7566c28afe2f" providerId="ADAL" clId="{E82091F1-98FB-416D-8C15-6657EA98CE27}" dt="2024-03-10T15:58:52.595" v="451" actId="478"/>
          <ac:spMkLst>
            <pc:docMk/>
            <pc:sldMk cId="2755726514" sldId="727"/>
            <ac:spMk id="14" creationId="{00000000-0000-0000-0000-000000000000}"/>
          </ac:spMkLst>
        </pc:spChg>
      </pc:sldChg>
      <pc:sldChg chg="addSp delSp modSp add mod ord">
        <pc:chgData name="Bitschi Klaus" userId="be151f9e-4017-4512-bd12-7566c28afe2f" providerId="ADAL" clId="{E82091F1-98FB-416D-8C15-6657EA98CE27}" dt="2024-03-11T08:23:15.768" v="5461" actId="255"/>
        <pc:sldMkLst>
          <pc:docMk/>
          <pc:sldMk cId="3194074722" sldId="728"/>
        </pc:sldMkLst>
        <pc:spChg chg="mod">
          <ac:chgData name="Bitschi Klaus" userId="be151f9e-4017-4512-bd12-7566c28afe2f" providerId="ADAL" clId="{E82091F1-98FB-416D-8C15-6657EA98CE27}" dt="2024-03-10T20:42:58.648" v="1302" actId="20577"/>
          <ac:spMkLst>
            <pc:docMk/>
            <pc:sldMk cId="3194074722" sldId="728"/>
            <ac:spMk id="2" creationId="{00000000-0000-0000-0000-000000000000}"/>
          </ac:spMkLst>
        </pc:spChg>
        <pc:spChg chg="mod">
          <ac:chgData name="Bitschi Klaus" userId="be151f9e-4017-4512-bd12-7566c28afe2f" providerId="ADAL" clId="{E82091F1-98FB-416D-8C15-6657EA98CE27}" dt="2024-03-11T08:21:55.766" v="5414" actId="1035"/>
          <ac:spMkLst>
            <pc:docMk/>
            <pc:sldMk cId="3194074722" sldId="728"/>
            <ac:spMk id="3" creationId="{D5AFC33D-858E-5709-8D22-4A9DD245A134}"/>
          </ac:spMkLst>
        </pc:spChg>
        <pc:spChg chg="mod">
          <ac:chgData name="Bitschi Klaus" userId="be151f9e-4017-4512-bd12-7566c28afe2f" providerId="ADAL" clId="{E82091F1-98FB-416D-8C15-6657EA98CE27}" dt="2024-03-11T08:21:55.766" v="5414" actId="1035"/>
          <ac:spMkLst>
            <pc:docMk/>
            <pc:sldMk cId="3194074722" sldId="728"/>
            <ac:spMk id="6" creationId="{9665F416-2CF5-CEB6-A162-3EF45060EDA6}"/>
          </ac:spMkLst>
        </pc:spChg>
        <pc:spChg chg="del">
          <ac:chgData name="Bitschi Klaus" userId="be151f9e-4017-4512-bd12-7566c28afe2f" providerId="ADAL" clId="{E82091F1-98FB-416D-8C15-6657EA98CE27}" dt="2024-03-11T08:05:35.603" v="5214" actId="478"/>
          <ac:spMkLst>
            <pc:docMk/>
            <pc:sldMk cId="3194074722" sldId="728"/>
            <ac:spMk id="7" creationId="{9740247E-0748-DCEB-8A71-3B6864E38731}"/>
          </ac:spMkLst>
        </pc:spChg>
        <pc:spChg chg="add mod">
          <ac:chgData name="Bitschi Klaus" userId="be151f9e-4017-4512-bd12-7566c28afe2f" providerId="ADAL" clId="{E82091F1-98FB-416D-8C15-6657EA98CE27}" dt="2024-03-11T08:21:55.766" v="5414" actId="1035"/>
          <ac:spMkLst>
            <pc:docMk/>
            <pc:sldMk cId="3194074722" sldId="728"/>
            <ac:spMk id="8" creationId="{847F05E4-3653-4D50-EFBA-ABED4FCC2589}"/>
          </ac:spMkLst>
        </pc:spChg>
        <pc:spChg chg="add mod">
          <ac:chgData name="Bitschi Klaus" userId="be151f9e-4017-4512-bd12-7566c28afe2f" providerId="ADAL" clId="{E82091F1-98FB-416D-8C15-6657EA98CE27}" dt="2024-03-11T08:23:15.768" v="5461" actId="255"/>
          <ac:spMkLst>
            <pc:docMk/>
            <pc:sldMk cId="3194074722" sldId="728"/>
            <ac:spMk id="13" creationId="{0E1D28F9-1697-39DD-AA12-54E8543786A8}"/>
          </ac:spMkLst>
        </pc:spChg>
        <pc:graphicFrameChg chg="add del mod modGraphic">
          <ac:chgData name="Bitschi Klaus" userId="be151f9e-4017-4512-bd12-7566c28afe2f" providerId="ADAL" clId="{E82091F1-98FB-416D-8C15-6657EA98CE27}" dt="2024-03-11T08:12:48.086" v="5378" actId="478"/>
          <ac:graphicFrameMkLst>
            <pc:docMk/>
            <pc:sldMk cId="3194074722" sldId="728"/>
            <ac:graphicFrameMk id="9" creationId="{1C79F5D8-0C48-2825-F224-0103EA07ADAD}"/>
          </ac:graphicFrameMkLst>
        </pc:graphicFrameChg>
        <pc:graphicFrameChg chg="add mod">
          <ac:chgData name="Bitschi Klaus" userId="be151f9e-4017-4512-bd12-7566c28afe2f" providerId="ADAL" clId="{E82091F1-98FB-416D-8C15-6657EA98CE27}" dt="2024-03-11T08:22:28.855" v="5418" actId="1076"/>
          <ac:graphicFrameMkLst>
            <pc:docMk/>
            <pc:sldMk cId="3194074722" sldId="728"/>
            <ac:graphicFrameMk id="12" creationId="{A96AE89C-281C-E9D0-1635-30542B26C0DA}"/>
          </ac:graphicFrameMkLst>
        </pc:graphicFrameChg>
        <pc:picChg chg="add del mod">
          <ac:chgData name="Bitschi Klaus" userId="be151f9e-4017-4512-bd12-7566c28afe2f" providerId="ADAL" clId="{E82091F1-98FB-416D-8C15-6657EA98CE27}" dt="2024-03-11T08:20:44.990" v="5388" actId="478"/>
          <ac:picMkLst>
            <pc:docMk/>
            <pc:sldMk cId="3194074722" sldId="728"/>
            <ac:picMk id="10" creationId="{860D437E-57EF-1488-8DBB-27DDDFBD07F2}"/>
          </ac:picMkLst>
        </pc:picChg>
        <pc:picChg chg="add del mod">
          <ac:chgData name="Bitschi Klaus" userId="be151f9e-4017-4512-bd12-7566c28afe2f" providerId="ADAL" clId="{E82091F1-98FB-416D-8C15-6657EA98CE27}" dt="2024-03-11T08:21:02.613" v="5391" actId="478"/>
          <ac:picMkLst>
            <pc:docMk/>
            <pc:sldMk cId="3194074722" sldId="728"/>
            <ac:picMk id="11" creationId="{6FCC5581-C6E6-B84F-BC1E-024174AAA681}"/>
          </ac:picMkLst>
        </pc:picChg>
      </pc:sldChg>
      <pc:sldChg chg="addSp delSp modSp add mod">
        <pc:chgData name="Bitschi Klaus" userId="be151f9e-4017-4512-bd12-7566c28afe2f" providerId="ADAL" clId="{E82091F1-98FB-416D-8C15-6657EA98CE27}" dt="2024-03-11T16:00:49.835" v="9868" actId="1036"/>
        <pc:sldMkLst>
          <pc:docMk/>
          <pc:sldMk cId="3822011110" sldId="729"/>
        </pc:sldMkLst>
        <pc:spChg chg="mod">
          <ac:chgData name="Bitschi Klaus" userId="be151f9e-4017-4512-bd12-7566c28afe2f" providerId="ADAL" clId="{E82091F1-98FB-416D-8C15-6657EA98CE27}" dt="2024-03-10T20:44:07.353" v="1427" actId="1035"/>
          <ac:spMkLst>
            <pc:docMk/>
            <pc:sldMk cId="3822011110" sldId="729"/>
            <ac:spMk id="2" creationId="{00000000-0000-0000-0000-000000000000}"/>
          </ac:spMkLst>
        </pc:spChg>
        <pc:spChg chg="mod">
          <ac:chgData name="Bitschi Klaus" userId="be151f9e-4017-4512-bd12-7566c28afe2f" providerId="ADAL" clId="{E82091F1-98FB-416D-8C15-6657EA98CE27}" dt="2024-03-11T16:00:25.460" v="9862" actId="14100"/>
          <ac:spMkLst>
            <pc:docMk/>
            <pc:sldMk cId="3822011110" sldId="729"/>
            <ac:spMk id="3" creationId="{D5AFC33D-858E-5709-8D22-4A9DD245A134}"/>
          </ac:spMkLst>
        </pc:spChg>
        <pc:spChg chg="mod">
          <ac:chgData name="Bitschi Klaus" userId="be151f9e-4017-4512-bd12-7566c28afe2f" providerId="ADAL" clId="{E82091F1-98FB-416D-8C15-6657EA98CE27}" dt="2024-03-11T08:37:51.377" v="6367" actId="14100"/>
          <ac:spMkLst>
            <pc:docMk/>
            <pc:sldMk cId="3822011110" sldId="729"/>
            <ac:spMk id="6" creationId="{9665F416-2CF5-CEB6-A162-3EF45060EDA6}"/>
          </ac:spMkLst>
        </pc:spChg>
        <pc:spChg chg="del">
          <ac:chgData name="Bitschi Klaus" userId="be151f9e-4017-4512-bd12-7566c28afe2f" providerId="ADAL" clId="{E82091F1-98FB-416D-8C15-6657EA98CE27}" dt="2024-03-11T08:29:06.027" v="5614" actId="478"/>
          <ac:spMkLst>
            <pc:docMk/>
            <pc:sldMk cId="3822011110" sldId="729"/>
            <ac:spMk id="7" creationId="{9740247E-0748-DCEB-8A71-3B6864E38731}"/>
          </ac:spMkLst>
        </pc:spChg>
        <pc:spChg chg="add mod">
          <ac:chgData name="Bitschi Klaus" userId="be151f9e-4017-4512-bd12-7566c28afe2f" providerId="ADAL" clId="{E82091F1-98FB-416D-8C15-6657EA98CE27}" dt="2024-03-11T16:00:49.835" v="9868" actId="1036"/>
          <ac:spMkLst>
            <pc:docMk/>
            <pc:sldMk cId="3822011110" sldId="729"/>
            <ac:spMk id="8" creationId="{5B3F4BC7-1865-947E-C7BE-E744CEBC0658}"/>
          </ac:spMkLst>
        </pc:spChg>
        <pc:spChg chg="add mod">
          <ac:chgData name="Bitschi Klaus" userId="be151f9e-4017-4512-bd12-7566c28afe2f" providerId="ADAL" clId="{E82091F1-98FB-416D-8C15-6657EA98CE27}" dt="2024-03-11T16:00:29.101" v="9863" actId="14100"/>
          <ac:spMkLst>
            <pc:docMk/>
            <pc:sldMk cId="3822011110" sldId="729"/>
            <ac:spMk id="9" creationId="{2AD603DC-DAC5-8888-1538-00E0E16FAE45}"/>
          </ac:spMkLst>
        </pc:spChg>
        <pc:inkChg chg="add del mod">
          <ac:chgData name="Bitschi Klaus" userId="be151f9e-4017-4512-bd12-7566c28afe2f" providerId="ADAL" clId="{E82091F1-98FB-416D-8C15-6657EA98CE27}" dt="2024-03-11T08:34:29.908" v="6102" actId="478"/>
          <ac:inkMkLst>
            <pc:docMk/>
            <pc:sldMk cId="3822011110" sldId="729"/>
            <ac:inkMk id="10" creationId="{56263C96-F22C-7FA1-433E-691E8CCE07B8}"/>
          </ac:inkMkLst>
        </pc:inkChg>
      </pc:sldChg>
      <pc:sldChg chg="addSp delSp modSp add mod">
        <pc:chgData name="Bitschi Klaus" userId="be151f9e-4017-4512-bd12-7566c28afe2f" providerId="ADAL" clId="{E82091F1-98FB-416D-8C15-6657EA98CE27}" dt="2024-03-11T18:11:20.484" v="9976" actId="113"/>
        <pc:sldMkLst>
          <pc:docMk/>
          <pc:sldMk cId="898072460" sldId="730"/>
        </pc:sldMkLst>
        <pc:spChg chg="mod">
          <ac:chgData name="Bitschi Klaus" userId="be151f9e-4017-4512-bd12-7566c28afe2f" providerId="ADAL" clId="{E82091F1-98FB-416D-8C15-6657EA98CE27}" dt="2024-03-10T20:45:08.181" v="1537" actId="20577"/>
          <ac:spMkLst>
            <pc:docMk/>
            <pc:sldMk cId="898072460" sldId="730"/>
            <ac:spMk id="2" creationId="{00000000-0000-0000-0000-000000000000}"/>
          </ac:spMkLst>
        </pc:spChg>
        <pc:spChg chg="mod">
          <ac:chgData name="Bitschi Klaus" userId="be151f9e-4017-4512-bd12-7566c28afe2f" providerId="ADAL" clId="{E82091F1-98FB-416D-8C15-6657EA98CE27}" dt="2024-03-11T08:51:19.779" v="6980" actId="1036"/>
          <ac:spMkLst>
            <pc:docMk/>
            <pc:sldMk cId="898072460" sldId="730"/>
            <ac:spMk id="3" creationId="{D5AFC33D-858E-5709-8D22-4A9DD245A134}"/>
          </ac:spMkLst>
        </pc:spChg>
        <pc:spChg chg="mod">
          <ac:chgData name="Bitschi Klaus" userId="be151f9e-4017-4512-bd12-7566c28afe2f" providerId="ADAL" clId="{E82091F1-98FB-416D-8C15-6657EA98CE27}" dt="2024-03-11T08:51:19.779" v="6980" actId="1036"/>
          <ac:spMkLst>
            <pc:docMk/>
            <pc:sldMk cId="898072460" sldId="730"/>
            <ac:spMk id="6" creationId="{9665F416-2CF5-CEB6-A162-3EF45060EDA6}"/>
          </ac:spMkLst>
        </pc:spChg>
        <pc:spChg chg="del">
          <ac:chgData name="Bitschi Klaus" userId="be151f9e-4017-4512-bd12-7566c28afe2f" providerId="ADAL" clId="{E82091F1-98FB-416D-8C15-6657EA98CE27}" dt="2024-03-11T08:44:35.302" v="6431" actId="478"/>
          <ac:spMkLst>
            <pc:docMk/>
            <pc:sldMk cId="898072460" sldId="730"/>
            <ac:spMk id="7" creationId="{9740247E-0748-DCEB-8A71-3B6864E38731}"/>
          </ac:spMkLst>
        </pc:spChg>
        <pc:spChg chg="add mod">
          <ac:chgData name="Bitschi Klaus" userId="be151f9e-4017-4512-bd12-7566c28afe2f" providerId="ADAL" clId="{E82091F1-98FB-416D-8C15-6657EA98CE27}" dt="2024-03-11T18:11:20.484" v="9976" actId="113"/>
          <ac:spMkLst>
            <pc:docMk/>
            <pc:sldMk cId="898072460" sldId="730"/>
            <ac:spMk id="8" creationId="{737C3D70-D92A-6821-1072-3AF5E142E113}"/>
          </ac:spMkLst>
        </pc:spChg>
        <pc:spChg chg="add mod">
          <ac:chgData name="Bitschi Klaus" userId="be151f9e-4017-4512-bd12-7566c28afe2f" providerId="ADAL" clId="{E82091F1-98FB-416D-8C15-6657EA98CE27}" dt="2024-03-11T08:51:12.243" v="6967" actId="20577"/>
          <ac:spMkLst>
            <pc:docMk/>
            <pc:sldMk cId="898072460" sldId="730"/>
            <ac:spMk id="9" creationId="{39E3F820-4E47-CD8E-6332-6D2E9392C5C8}"/>
          </ac:spMkLst>
        </pc:spChg>
      </pc:sldChg>
      <pc:sldChg chg="add del">
        <pc:chgData name="Bitschi Klaus" userId="be151f9e-4017-4512-bd12-7566c28afe2f" providerId="ADAL" clId="{E82091F1-98FB-416D-8C15-6657EA98CE27}" dt="2024-03-10T20:45:38.635" v="1539" actId="47"/>
        <pc:sldMkLst>
          <pc:docMk/>
          <pc:sldMk cId="2234288016" sldId="731"/>
        </pc:sldMkLst>
      </pc:sldChg>
      <pc:sldChg chg="addSp delSp modSp add mod">
        <pc:chgData name="Bitschi Klaus" userId="be151f9e-4017-4512-bd12-7566c28afe2f" providerId="ADAL" clId="{E82091F1-98FB-416D-8C15-6657EA98CE27}" dt="2024-03-11T16:02:48.859" v="9874" actId="14100"/>
        <pc:sldMkLst>
          <pc:docMk/>
          <pc:sldMk cId="4087201164" sldId="731"/>
        </pc:sldMkLst>
        <pc:spChg chg="mod">
          <ac:chgData name="Bitschi Klaus" userId="be151f9e-4017-4512-bd12-7566c28afe2f" providerId="ADAL" clId="{E82091F1-98FB-416D-8C15-6657EA98CE27}" dt="2024-03-11T09:43:28.102" v="7074" actId="20577"/>
          <ac:spMkLst>
            <pc:docMk/>
            <pc:sldMk cId="4087201164" sldId="731"/>
            <ac:spMk id="2" creationId="{00000000-0000-0000-0000-000000000000}"/>
          </ac:spMkLst>
        </pc:spChg>
        <pc:spChg chg="del">
          <ac:chgData name="Bitschi Klaus" userId="be151f9e-4017-4512-bd12-7566c28afe2f" providerId="ADAL" clId="{E82091F1-98FB-416D-8C15-6657EA98CE27}" dt="2024-03-11T08:51:39.207" v="6981" actId="478"/>
          <ac:spMkLst>
            <pc:docMk/>
            <pc:sldMk cId="4087201164" sldId="731"/>
            <ac:spMk id="3" creationId="{D5AFC33D-858E-5709-8D22-4A9DD245A134}"/>
          </ac:spMkLst>
        </pc:spChg>
        <pc:spChg chg="del">
          <ac:chgData name="Bitschi Klaus" userId="be151f9e-4017-4512-bd12-7566c28afe2f" providerId="ADAL" clId="{E82091F1-98FB-416D-8C15-6657EA98CE27}" dt="2024-03-11T08:51:39.207" v="6981" actId="478"/>
          <ac:spMkLst>
            <pc:docMk/>
            <pc:sldMk cId="4087201164" sldId="731"/>
            <ac:spMk id="6" creationId="{9665F416-2CF5-CEB6-A162-3EF45060EDA6}"/>
          </ac:spMkLst>
        </pc:spChg>
        <pc:spChg chg="del">
          <ac:chgData name="Bitschi Klaus" userId="be151f9e-4017-4512-bd12-7566c28afe2f" providerId="ADAL" clId="{E82091F1-98FB-416D-8C15-6657EA98CE27}" dt="2024-03-11T08:51:43.048" v="6982" actId="478"/>
          <ac:spMkLst>
            <pc:docMk/>
            <pc:sldMk cId="4087201164" sldId="731"/>
            <ac:spMk id="7" creationId="{9740247E-0748-DCEB-8A71-3B6864E38731}"/>
          </ac:spMkLst>
        </pc:spChg>
        <pc:spChg chg="add mod">
          <ac:chgData name="Bitschi Klaus" userId="be151f9e-4017-4512-bd12-7566c28afe2f" providerId="ADAL" clId="{E82091F1-98FB-416D-8C15-6657EA98CE27}" dt="2024-03-11T16:02:48.859" v="9874" actId="14100"/>
          <ac:spMkLst>
            <pc:docMk/>
            <pc:sldMk cId="4087201164" sldId="731"/>
            <ac:spMk id="10" creationId="{73700FA5-C782-FFE2-CCE1-515A8D61E374}"/>
          </ac:spMkLst>
        </pc:spChg>
        <pc:picChg chg="add mod">
          <ac:chgData name="Bitschi Klaus" userId="be151f9e-4017-4512-bd12-7566c28afe2f" providerId="ADAL" clId="{E82091F1-98FB-416D-8C15-6657EA98CE27}" dt="2024-03-11T09:13:38.154" v="6985" actId="1076"/>
          <ac:picMkLst>
            <pc:docMk/>
            <pc:sldMk cId="4087201164" sldId="731"/>
            <ac:picMk id="9" creationId="{64A01490-4061-DA7A-B09A-7AF2C14FF870}"/>
          </ac:picMkLst>
        </pc:picChg>
      </pc:sldChg>
      <pc:sldChg chg="addSp delSp modSp add mod">
        <pc:chgData name="Bitschi Klaus" userId="be151f9e-4017-4512-bd12-7566c28afe2f" providerId="ADAL" clId="{E82091F1-98FB-416D-8C15-6657EA98CE27}" dt="2024-03-11T16:03:44.080" v="9880" actId="14100"/>
        <pc:sldMkLst>
          <pc:docMk/>
          <pc:sldMk cId="846354285" sldId="732"/>
        </pc:sldMkLst>
        <pc:spChg chg="mod">
          <ac:chgData name="Bitschi Klaus" userId="be151f9e-4017-4512-bd12-7566c28afe2f" providerId="ADAL" clId="{E82091F1-98FB-416D-8C15-6657EA98CE27}" dt="2024-03-11T09:43:58.709" v="7084" actId="20577"/>
          <ac:spMkLst>
            <pc:docMk/>
            <pc:sldMk cId="846354285" sldId="732"/>
            <ac:spMk id="2" creationId="{00000000-0000-0000-0000-000000000000}"/>
          </ac:spMkLst>
        </pc:spChg>
        <pc:spChg chg="del">
          <ac:chgData name="Bitschi Klaus" userId="be151f9e-4017-4512-bd12-7566c28afe2f" providerId="ADAL" clId="{E82091F1-98FB-416D-8C15-6657EA98CE27}" dt="2024-03-11T09:14:23.233" v="6986" actId="478"/>
          <ac:spMkLst>
            <pc:docMk/>
            <pc:sldMk cId="846354285" sldId="732"/>
            <ac:spMk id="3" creationId="{D5AFC33D-858E-5709-8D22-4A9DD245A134}"/>
          </ac:spMkLst>
        </pc:spChg>
        <pc:spChg chg="del">
          <ac:chgData name="Bitschi Klaus" userId="be151f9e-4017-4512-bd12-7566c28afe2f" providerId="ADAL" clId="{E82091F1-98FB-416D-8C15-6657EA98CE27}" dt="2024-03-11T09:14:23.233" v="6986" actId="478"/>
          <ac:spMkLst>
            <pc:docMk/>
            <pc:sldMk cId="846354285" sldId="732"/>
            <ac:spMk id="6" creationId="{9665F416-2CF5-CEB6-A162-3EF45060EDA6}"/>
          </ac:spMkLst>
        </pc:spChg>
        <pc:spChg chg="del">
          <ac:chgData name="Bitschi Klaus" userId="be151f9e-4017-4512-bd12-7566c28afe2f" providerId="ADAL" clId="{E82091F1-98FB-416D-8C15-6657EA98CE27}" dt="2024-03-11T09:14:23.233" v="6986" actId="478"/>
          <ac:spMkLst>
            <pc:docMk/>
            <pc:sldMk cId="846354285" sldId="732"/>
            <ac:spMk id="7" creationId="{9740247E-0748-DCEB-8A71-3B6864E38731}"/>
          </ac:spMkLst>
        </pc:spChg>
        <pc:spChg chg="add mod">
          <ac:chgData name="Bitschi Klaus" userId="be151f9e-4017-4512-bd12-7566c28afe2f" providerId="ADAL" clId="{E82091F1-98FB-416D-8C15-6657EA98CE27}" dt="2024-03-11T16:03:44.080" v="9880" actId="14100"/>
          <ac:spMkLst>
            <pc:docMk/>
            <pc:sldMk cId="846354285" sldId="732"/>
            <ac:spMk id="10" creationId="{83502891-DA35-190F-83CC-40E8AF4D30BD}"/>
          </ac:spMkLst>
        </pc:spChg>
        <pc:picChg chg="add mod">
          <ac:chgData name="Bitschi Klaus" userId="be151f9e-4017-4512-bd12-7566c28afe2f" providerId="ADAL" clId="{E82091F1-98FB-416D-8C15-6657EA98CE27}" dt="2024-03-11T09:15:47.732" v="6991" actId="1076"/>
          <ac:picMkLst>
            <pc:docMk/>
            <pc:sldMk cId="846354285" sldId="732"/>
            <ac:picMk id="9" creationId="{824E0249-6D45-F3CE-FB11-9AF3A3090336}"/>
          </ac:picMkLst>
        </pc:picChg>
      </pc:sldChg>
      <pc:sldChg chg="addSp delSp modSp add mod">
        <pc:chgData name="Bitschi Klaus" userId="be151f9e-4017-4512-bd12-7566c28afe2f" providerId="ADAL" clId="{E82091F1-98FB-416D-8C15-6657EA98CE27}" dt="2024-03-11T14:20:26.373" v="7635" actId="122"/>
        <pc:sldMkLst>
          <pc:docMk/>
          <pc:sldMk cId="2313642943" sldId="733"/>
        </pc:sldMkLst>
        <pc:spChg chg="mod">
          <ac:chgData name="Bitschi Klaus" userId="be151f9e-4017-4512-bd12-7566c28afe2f" providerId="ADAL" clId="{E82091F1-98FB-416D-8C15-6657EA98CE27}" dt="2024-03-10T20:50:13.272" v="1887" actId="20577"/>
          <ac:spMkLst>
            <pc:docMk/>
            <pc:sldMk cId="2313642943" sldId="733"/>
            <ac:spMk id="2" creationId="{00000000-0000-0000-0000-000000000000}"/>
          </ac:spMkLst>
        </pc:spChg>
        <pc:spChg chg="del">
          <ac:chgData name="Bitschi Klaus" userId="be151f9e-4017-4512-bd12-7566c28afe2f" providerId="ADAL" clId="{E82091F1-98FB-416D-8C15-6657EA98CE27}" dt="2024-03-11T09:16:50.759" v="6992" actId="478"/>
          <ac:spMkLst>
            <pc:docMk/>
            <pc:sldMk cId="2313642943" sldId="733"/>
            <ac:spMk id="3" creationId="{D5AFC33D-858E-5709-8D22-4A9DD245A134}"/>
          </ac:spMkLst>
        </pc:spChg>
        <pc:spChg chg="del">
          <ac:chgData name="Bitschi Klaus" userId="be151f9e-4017-4512-bd12-7566c28afe2f" providerId="ADAL" clId="{E82091F1-98FB-416D-8C15-6657EA98CE27}" dt="2024-03-11T09:16:50.759" v="6992" actId="478"/>
          <ac:spMkLst>
            <pc:docMk/>
            <pc:sldMk cId="2313642943" sldId="733"/>
            <ac:spMk id="6" creationId="{9665F416-2CF5-CEB6-A162-3EF45060EDA6}"/>
          </ac:spMkLst>
        </pc:spChg>
        <pc:spChg chg="del">
          <ac:chgData name="Bitschi Klaus" userId="be151f9e-4017-4512-bd12-7566c28afe2f" providerId="ADAL" clId="{E82091F1-98FB-416D-8C15-6657EA98CE27}" dt="2024-03-11T09:16:50.759" v="6992" actId="478"/>
          <ac:spMkLst>
            <pc:docMk/>
            <pc:sldMk cId="2313642943" sldId="733"/>
            <ac:spMk id="7" creationId="{9740247E-0748-DCEB-8A71-3B6864E38731}"/>
          </ac:spMkLst>
        </pc:spChg>
        <pc:spChg chg="add mod">
          <ac:chgData name="Bitschi Klaus" userId="be151f9e-4017-4512-bd12-7566c28afe2f" providerId="ADAL" clId="{E82091F1-98FB-416D-8C15-6657EA98CE27}" dt="2024-03-11T14:20:26.373" v="7635" actId="122"/>
          <ac:spMkLst>
            <pc:docMk/>
            <pc:sldMk cId="2313642943" sldId="733"/>
            <ac:spMk id="14" creationId="{70E4177C-E00E-DE79-018B-825039F57A7B}"/>
          </ac:spMkLst>
        </pc:spChg>
        <pc:picChg chg="add del mod">
          <ac:chgData name="Bitschi Klaus" userId="be151f9e-4017-4512-bd12-7566c28afe2f" providerId="ADAL" clId="{E82091F1-98FB-416D-8C15-6657EA98CE27}" dt="2024-03-11T09:18:31.782" v="7000" actId="478"/>
          <ac:picMkLst>
            <pc:docMk/>
            <pc:sldMk cId="2313642943" sldId="733"/>
            <ac:picMk id="9" creationId="{66428B8E-B721-5987-A91E-50C06C422938}"/>
          </ac:picMkLst>
        </pc:picChg>
        <pc:picChg chg="add del mod">
          <ac:chgData name="Bitschi Klaus" userId="be151f9e-4017-4512-bd12-7566c28afe2f" providerId="ADAL" clId="{E82091F1-98FB-416D-8C15-6657EA98CE27}" dt="2024-03-11T13:55:29.141" v="7087" actId="478"/>
          <ac:picMkLst>
            <pc:docMk/>
            <pc:sldMk cId="2313642943" sldId="733"/>
            <ac:picMk id="11" creationId="{3D07BA52-5726-B996-2983-4553D697C7BF}"/>
          </ac:picMkLst>
        </pc:picChg>
        <pc:picChg chg="add mod">
          <ac:chgData name="Bitschi Klaus" userId="be151f9e-4017-4512-bd12-7566c28afe2f" providerId="ADAL" clId="{E82091F1-98FB-416D-8C15-6657EA98CE27}" dt="2024-03-11T13:55:53.893" v="7090" actId="1076"/>
          <ac:picMkLst>
            <pc:docMk/>
            <pc:sldMk cId="2313642943" sldId="733"/>
            <ac:picMk id="13" creationId="{41E7AEB5-80F7-3417-6359-8B01229B7EC6}"/>
          </ac:picMkLst>
        </pc:picChg>
      </pc:sldChg>
      <pc:sldChg chg="addSp delSp modSp add mod">
        <pc:chgData name="Bitschi Klaus" userId="be151f9e-4017-4512-bd12-7566c28afe2f" providerId="ADAL" clId="{E82091F1-98FB-416D-8C15-6657EA98CE27}" dt="2024-03-11T14:42:22.179" v="8056" actId="14100"/>
        <pc:sldMkLst>
          <pc:docMk/>
          <pc:sldMk cId="3543009212" sldId="734"/>
        </pc:sldMkLst>
        <pc:spChg chg="mod">
          <ac:chgData name="Bitschi Klaus" userId="be151f9e-4017-4512-bd12-7566c28afe2f" providerId="ADAL" clId="{E82091F1-98FB-416D-8C15-6657EA98CE27}" dt="2024-03-10T20:51:38.366" v="1947" actId="20577"/>
          <ac:spMkLst>
            <pc:docMk/>
            <pc:sldMk cId="3543009212" sldId="734"/>
            <ac:spMk id="2" creationId="{00000000-0000-0000-0000-000000000000}"/>
          </ac:spMkLst>
        </pc:spChg>
        <pc:spChg chg="del">
          <ac:chgData name="Bitschi Klaus" userId="be151f9e-4017-4512-bd12-7566c28afe2f" providerId="ADAL" clId="{E82091F1-98FB-416D-8C15-6657EA98CE27}" dt="2024-03-11T09:18:24.592" v="6998" actId="478"/>
          <ac:spMkLst>
            <pc:docMk/>
            <pc:sldMk cId="3543009212" sldId="734"/>
            <ac:spMk id="3" creationId="{D5AFC33D-858E-5709-8D22-4A9DD245A134}"/>
          </ac:spMkLst>
        </pc:spChg>
        <pc:spChg chg="del">
          <ac:chgData name="Bitschi Klaus" userId="be151f9e-4017-4512-bd12-7566c28afe2f" providerId="ADAL" clId="{E82091F1-98FB-416D-8C15-6657EA98CE27}" dt="2024-03-11T09:18:24.592" v="6998" actId="478"/>
          <ac:spMkLst>
            <pc:docMk/>
            <pc:sldMk cId="3543009212" sldId="734"/>
            <ac:spMk id="6" creationId="{9665F416-2CF5-CEB6-A162-3EF45060EDA6}"/>
          </ac:spMkLst>
        </pc:spChg>
        <pc:spChg chg="del">
          <ac:chgData name="Bitschi Klaus" userId="be151f9e-4017-4512-bd12-7566c28afe2f" providerId="ADAL" clId="{E82091F1-98FB-416D-8C15-6657EA98CE27}" dt="2024-03-11T09:18:24.592" v="6998" actId="478"/>
          <ac:spMkLst>
            <pc:docMk/>
            <pc:sldMk cId="3543009212" sldId="734"/>
            <ac:spMk id="7" creationId="{9740247E-0748-DCEB-8A71-3B6864E38731}"/>
          </ac:spMkLst>
        </pc:spChg>
        <pc:spChg chg="add mod">
          <ac:chgData name="Bitschi Klaus" userId="be151f9e-4017-4512-bd12-7566c28afe2f" providerId="ADAL" clId="{E82091F1-98FB-416D-8C15-6657EA98CE27}" dt="2024-03-11T14:42:22.179" v="8056" actId="14100"/>
          <ac:spMkLst>
            <pc:docMk/>
            <pc:sldMk cId="3543009212" sldId="734"/>
            <ac:spMk id="9" creationId="{B901D7A5-EB80-D65A-2BB5-241DC2A3A9B2}"/>
          </ac:spMkLst>
        </pc:spChg>
        <pc:picChg chg="add del mod">
          <ac:chgData name="Bitschi Klaus" userId="be151f9e-4017-4512-bd12-7566c28afe2f" providerId="ADAL" clId="{E82091F1-98FB-416D-8C15-6657EA98CE27}" dt="2024-03-11T13:55:22.953" v="7086" actId="478"/>
          <ac:picMkLst>
            <pc:docMk/>
            <pc:sldMk cId="3543009212" sldId="734"/>
            <ac:picMk id="8" creationId="{F2A30D51-30E9-237F-2E6B-878FF1B6CA28}"/>
          </ac:picMkLst>
        </pc:picChg>
      </pc:sldChg>
      <pc:sldChg chg="addSp delSp modSp add mod">
        <pc:chgData name="Bitschi Klaus" userId="be151f9e-4017-4512-bd12-7566c28afe2f" providerId="ADAL" clId="{E82091F1-98FB-416D-8C15-6657EA98CE27}" dt="2024-03-11T14:46:23.182" v="8306" actId="1076"/>
        <pc:sldMkLst>
          <pc:docMk/>
          <pc:sldMk cId="2033682272" sldId="735"/>
        </pc:sldMkLst>
        <pc:spChg chg="mod">
          <ac:chgData name="Bitschi Klaus" userId="be151f9e-4017-4512-bd12-7566c28afe2f" providerId="ADAL" clId="{E82091F1-98FB-416D-8C15-6657EA98CE27}" dt="2024-03-10T20:53:58.167" v="2047" actId="20577"/>
          <ac:spMkLst>
            <pc:docMk/>
            <pc:sldMk cId="2033682272" sldId="735"/>
            <ac:spMk id="2" creationId="{00000000-0000-0000-0000-000000000000}"/>
          </ac:spMkLst>
        </pc:spChg>
        <pc:spChg chg="del">
          <ac:chgData name="Bitschi Klaus" userId="be151f9e-4017-4512-bd12-7566c28afe2f" providerId="ADAL" clId="{E82091F1-98FB-416D-8C15-6657EA98CE27}" dt="2024-03-11T09:18:37.522" v="7001" actId="478"/>
          <ac:spMkLst>
            <pc:docMk/>
            <pc:sldMk cId="2033682272" sldId="735"/>
            <ac:spMk id="3" creationId="{D5AFC33D-858E-5709-8D22-4A9DD245A134}"/>
          </ac:spMkLst>
        </pc:spChg>
        <pc:spChg chg="del">
          <ac:chgData name="Bitschi Klaus" userId="be151f9e-4017-4512-bd12-7566c28afe2f" providerId="ADAL" clId="{E82091F1-98FB-416D-8C15-6657EA98CE27}" dt="2024-03-11T09:18:37.522" v="7001" actId="478"/>
          <ac:spMkLst>
            <pc:docMk/>
            <pc:sldMk cId="2033682272" sldId="735"/>
            <ac:spMk id="6" creationId="{9665F416-2CF5-CEB6-A162-3EF45060EDA6}"/>
          </ac:spMkLst>
        </pc:spChg>
        <pc:spChg chg="del">
          <ac:chgData name="Bitschi Klaus" userId="be151f9e-4017-4512-bd12-7566c28afe2f" providerId="ADAL" clId="{E82091F1-98FB-416D-8C15-6657EA98CE27}" dt="2024-03-11T09:18:37.522" v="7001" actId="478"/>
          <ac:spMkLst>
            <pc:docMk/>
            <pc:sldMk cId="2033682272" sldId="735"/>
            <ac:spMk id="7" creationId="{9740247E-0748-DCEB-8A71-3B6864E38731}"/>
          </ac:spMkLst>
        </pc:spChg>
        <pc:spChg chg="add mod">
          <ac:chgData name="Bitschi Klaus" userId="be151f9e-4017-4512-bd12-7566c28afe2f" providerId="ADAL" clId="{E82091F1-98FB-416D-8C15-6657EA98CE27}" dt="2024-03-11T14:46:23.182" v="8306" actId="1076"/>
          <ac:spMkLst>
            <pc:docMk/>
            <pc:sldMk cId="2033682272" sldId="735"/>
            <ac:spMk id="9" creationId="{E05F0DCD-7A75-725F-B94B-F1EEBA64F200}"/>
          </ac:spMkLst>
        </pc:spChg>
        <pc:picChg chg="add mod">
          <ac:chgData name="Bitschi Klaus" userId="be151f9e-4017-4512-bd12-7566c28afe2f" providerId="ADAL" clId="{E82091F1-98FB-416D-8C15-6657EA98CE27}" dt="2024-03-11T09:19:46.131" v="7003" actId="1076"/>
          <ac:picMkLst>
            <pc:docMk/>
            <pc:sldMk cId="2033682272" sldId="735"/>
            <ac:picMk id="8" creationId="{B3096DFE-3B8A-FB5F-65E1-8FE781F88F96}"/>
          </ac:picMkLst>
        </pc:picChg>
      </pc:sldChg>
      <pc:sldChg chg="addSp delSp modSp add mod">
        <pc:chgData name="Bitschi Klaus" userId="be151f9e-4017-4512-bd12-7566c28afe2f" providerId="ADAL" clId="{E82091F1-98FB-416D-8C15-6657EA98CE27}" dt="2024-03-11T15:13:03.656" v="9000" actId="20577"/>
        <pc:sldMkLst>
          <pc:docMk/>
          <pc:sldMk cId="1231209392" sldId="736"/>
        </pc:sldMkLst>
        <pc:spChg chg="mod">
          <ac:chgData name="Bitschi Klaus" userId="be151f9e-4017-4512-bd12-7566c28afe2f" providerId="ADAL" clId="{E82091F1-98FB-416D-8C15-6657EA98CE27}" dt="2024-03-11T09:26:36.702" v="7008" actId="20577"/>
          <ac:spMkLst>
            <pc:docMk/>
            <pc:sldMk cId="1231209392" sldId="736"/>
            <ac:spMk id="2" creationId="{00000000-0000-0000-0000-000000000000}"/>
          </ac:spMkLst>
        </pc:spChg>
        <pc:spChg chg="del">
          <ac:chgData name="Bitschi Klaus" userId="be151f9e-4017-4512-bd12-7566c28afe2f" providerId="ADAL" clId="{E82091F1-98FB-416D-8C15-6657EA98CE27}" dt="2024-03-11T09:20:01.960" v="7004" actId="478"/>
          <ac:spMkLst>
            <pc:docMk/>
            <pc:sldMk cId="1231209392" sldId="736"/>
            <ac:spMk id="3" creationId="{D5AFC33D-858E-5709-8D22-4A9DD245A134}"/>
          </ac:spMkLst>
        </pc:spChg>
        <pc:spChg chg="del">
          <ac:chgData name="Bitschi Klaus" userId="be151f9e-4017-4512-bd12-7566c28afe2f" providerId="ADAL" clId="{E82091F1-98FB-416D-8C15-6657EA98CE27}" dt="2024-03-11T09:20:01.960" v="7004" actId="478"/>
          <ac:spMkLst>
            <pc:docMk/>
            <pc:sldMk cId="1231209392" sldId="736"/>
            <ac:spMk id="6" creationId="{9665F416-2CF5-CEB6-A162-3EF45060EDA6}"/>
          </ac:spMkLst>
        </pc:spChg>
        <pc:spChg chg="del">
          <ac:chgData name="Bitschi Klaus" userId="be151f9e-4017-4512-bd12-7566c28afe2f" providerId="ADAL" clId="{E82091F1-98FB-416D-8C15-6657EA98CE27}" dt="2024-03-11T09:20:01.960" v="7004" actId="478"/>
          <ac:spMkLst>
            <pc:docMk/>
            <pc:sldMk cId="1231209392" sldId="736"/>
            <ac:spMk id="7" creationId="{9740247E-0748-DCEB-8A71-3B6864E38731}"/>
          </ac:spMkLst>
        </pc:spChg>
        <pc:spChg chg="add mod">
          <ac:chgData name="Bitschi Klaus" userId="be151f9e-4017-4512-bd12-7566c28afe2f" providerId="ADAL" clId="{E82091F1-98FB-416D-8C15-6657EA98CE27}" dt="2024-03-11T15:11:56.174" v="8915" actId="1035"/>
          <ac:spMkLst>
            <pc:docMk/>
            <pc:sldMk cId="1231209392" sldId="736"/>
            <ac:spMk id="8" creationId="{9DEB325E-1630-BB8B-35E4-CA26F76B2120}"/>
          </ac:spMkLst>
        </pc:spChg>
        <pc:spChg chg="add mod">
          <ac:chgData name="Bitschi Klaus" userId="be151f9e-4017-4512-bd12-7566c28afe2f" providerId="ADAL" clId="{E82091F1-98FB-416D-8C15-6657EA98CE27}" dt="2024-03-11T15:11:56.174" v="8915" actId="1035"/>
          <ac:spMkLst>
            <pc:docMk/>
            <pc:sldMk cId="1231209392" sldId="736"/>
            <ac:spMk id="9" creationId="{D056662C-D199-E161-3C03-DA850B69EE5D}"/>
          </ac:spMkLst>
        </pc:spChg>
        <pc:spChg chg="add mod">
          <ac:chgData name="Bitschi Klaus" userId="be151f9e-4017-4512-bd12-7566c28afe2f" providerId="ADAL" clId="{E82091F1-98FB-416D-8C15-6657EA98CE27}" dt="2024-03-11T15:11:56.174" v="8915" actId="1035"/>
          <ac:spMkLst>
            <pc:docMk/>
            <pc:sldMk cId="1231209392" sldId="736"/>
            <ac:spMk id="10" creationId="{C317124C-9BAD-57B7-8495-B81F9A82F0FB}"/>
          </ac:spMkLst>
        </pc:spChg>
        <pc:spChg chg="add mod">
          <ac:chgData name="Bitschi Klaus" userId="be151f9e-4017-4512-bd12-7566c28afe2f" providerId="ADAL" clId="{E82091F1-98FB-416D-8C15-6657EA98CE27}" dt="2024-03-11T15:13:03.656" v="9000" actId="20577"/>
          <ac:spMkLst>
            <pc:docMk/>
            <pc:sldMk cId="1231209392" sldId="736"/>
            <ac:spMk id="11" creationId="{CF74CB1A-7B1E-698C-2326-A54322249373}"/>
          </ac:spMkLst>
        </pc:spChg>
        <pc:spChg chg="add mod">
          <ac:chgData name="Bitschi Klaus" userId="be151f9e-4017-4512-bd12-7566c28afe2f" providerId="ADAL" clId="{E82091F1-98FB-416D-8C15-6657EA98CE27}" dt="2024-03-11T15:11:56.174" v="8915" actId="1035"/>
          <ac:spMkLst>
            <pc:docMk/>
            <pc:sldMk cId="1231209392" sldId="736"/>
            <ac:spMk id="12" creationId="{62113653-93DE-13B1-8C9B-80482DE4ED3F}"/>
          </ac:spMkLst>
        </pc:spChg>
        <pc:spChg chg="add del mod">
          <ac:chgData name="Bitschi Klaus" userId="be151f9e-4017-4512-bd12-7566c28afe2f" providerId="ADAL" clId="{E82091F1-98FB-416D-8C15-6657EA98CE27}" dt="2024-03-11T09:27:40.629" v="7026" actId="478"/>
          <ac:spMkLst>
            <pc:docMk/>
            <pc:sldMk cId="1231209392" sldId="736"/>
            <ac:spMk id="13" creationId="{D061A710-7E98-9025-4908-D363A14A670C}"/>
          </ac:spMkLst>
        </pc:spChg>
        <pc:spChg chg="add del mod">
          <ac:chgData name="Bitschi Klaus" userId="be151f9e-4017-4512-bd12-7566c28afe2f" providerId="ADAL" clId="{E82091F1-98FB-416D-8C15-6657EA98CE27}" dt="2024-03-11T09:27:40.629" v="7026" actId="478"/>
          <ac:spMkLst>
            <pc:docMk/>
            <pc:sldMk cId="1231209392" sldId="736"/>
            <ac:spMk id="14" creationId="{6F61365E-24C2-B5E0-E5BD-561F641A8E19}"/>
          </ac:spMkLst>
        </pc:spChg>
        <pc:spChg chg="add mod">
          <ac:chgData name="Bitschi Klaus" userId="be151f9e-4017-4512-bd12-7566c28afe2f" providerId="ADAL" clId="{E82091F1-98FB-416D-8C15-6657EA98CE27}" dt="2024-03-11T15:12:48.987" v="8999" actId="20577"/>
          <ac:spMkLst>
            <pc:docMk/>
            <pc:sldMk cId="1231209392" sldId="736"/>
            <ac:spMk id="15" creationId="{3A10B433-9455-FEA5-754D-58D722A6BACA}"/>
          </ac:spMkLst>
        </pc:spChg>
      </pc:sldChg>
      <pc:sldChg chg="addSp modSp add mod">
        <pc:chgData name="Bitschi Klaus" userId="be151f9e-4017-4512-bd12-7566c28afe2f" providerId="ADAL" clId="{E82091F1-98FB-416D-8C15-6657EA98CE27}" dt="2024-03-11T18:14:41.439" v="9978" actId="20577"/>
        <pc:sldMkLst>
          <pc:docMk/>
          <pc:sldMk cId="2680557413" sldId="737"/>
        </pc:sldMkLst>
        <pc:spChg chg="mod">
          <ac:chgData name="Bitschi Klaus" userId="be151f9e-4017-4512-bd12-7566c28afe2f" providerId="ADAL" clId="{E82091F1-98FB-416D-8C15-6657EA98CE27}" dt="2024-03-10T20:58:10.448" v="2263" actId="1076"/>
          <ac:spMkLst>
            <pc:docMk/>
            <pc:sldMk cId="2680557413" sldId="737"/>
            <ac:spMk id="2" creationId="{00000000-0000-0000-0000-000000000000}"/>
          </ac:spMkLst>
        </pc:spChg>
        <pc:spChg chg="mod">
          <ac:chgData name="Bitschi Klaus" userId="be151f9e-4017-4512-bd12-7566c28afe2f" providerId="ADAL" clId="{E82091F1-98FB-416D-8C15-6657EA98CE27}" dt="2024-03-11T15:13:52.858" v="9042" actId="1035"/>
          <ac:spMkLst>
            <pc:docMk/>
            <pc:sldMk cId="2680557413" sldId="737"/>
            <ac:spMk id="3" creationId="{D5AFC33D-858E-5709-8D22-4A9DD245A134}"/>
          </ac:spMkLst>
        </pc:spChg>
        <pc:spChg chg="mod">
          <ac:chgData name="Bitschi Klaus" userId="be151f9e-4017-4512-bd12-7566c28afe2f" providerId="ADAL" clId="{E82091F1-98FB-416D-8C15-6657EA98CE27}" dt="2024-03-11T15:13:52.858" v="9042" actId="1035"/>
          <ac:spMkLst>
            <pc:docMk/>
            <pc:sldMk cId="2680557413" sldId="737"/>
            <ac:spMk id="6" creationId="{9665F416-2CF5-CEB6-A162-3EF45060EDA6}"/>
          </ac:spMkLst>
        </pc:spChg>
        <pc:spChg chg="mod">
          <ac:chgData name="Bitschi Klaus" userId="be151f9e-4017-4512-bd12-7566c28afe2f" providerId="ADAL" clId="{E82091F1-98FB-416D-8C15-6657EA98CE27}" dt="2024-03-11T18:14:41.439" v="9978" actId="20577"/>
          <ac:spMkLst>
            <pc:docMk/>
            <pc:sldMk cId="2680557413" sldId="737"/>
            <ac:spMk id="7" creationId="{9740247E-0748-DCEB-8A71-3B6864E38731}"/>
          </ac:spMkLst>
        </pc:spChg>
        <pc:spChg chg="add mod">
          <ac:chgData name="Bitschi Klaus" userId="be151f9e-4017-4512-bd12-7566c28afe2f" providerId="ADAL" clId="{E82091F1-98FB-416D-8C15-6657EA98CE27}" dt="2024-03-11T15:22:07.207" v="9584" actId="20577"/>
          <ac:spMkLst>
            <pc:docMk/>
            <pc:sldMk cId="2680557413" sldId="737"/>
            <ac:spMk id="8" creationId="{3E5E89FB-0A50-6729-8442-3E774CA034D2}"/>
          </ac:spMkLst>
        </pc:spChg>
      </pc:sldChg>
      <pc:sldChg chg="addSp modSp add mod">
        <pc:chgData name="Bitschi Klaus" userId="be151f9e-4017-4512-bd12-7566c28afe2f" providerId="ADAL" clId="{E82091F1-98FB-416D-8C15-6657EA98CE27}" dt="2024-03-11T15:31:55.117" v="9825" actId="113"/>
        <pc:sldMkLst>
          <pc:docMk/>
          <pc:sldMk cId="2672365775" sldId="738"/>
        </pc:sldMkLst>
        <pc:spChg chg="mod">
          <ac:chgData name="Bitschi Klaus" userId="be151f9e-4017-4512-bd12-7566c28afe2f" providerId="ADAL" clId="{E82091F1-98FB-416D-8C15-6657EA98CE27}" dt="2024-03-10T20:59:01.377" v="2270" actId="20577"/>
          <ac:spMkLst>
            <pc:docMk/>
            <pc:sldMk cId="2672365775" sldId="738"/>
            <ac:spMk id="6" creationId="{4BD01D2F-2B90-01B4-0E32-28B087BACBBC}"/>
          </ac:spMkLst>
        </pc:spChg>
        <pc:spChg chg="mod">
          <ac:chgData name="Bitschi Klaus" userId="be151f9e-4017-4512-bd12-7566c28afe2f" providerId="ADAL" clId="{E82091F1-98FB-416D-8C15-6657EA98CE27}" dt="2024-03-11T15:31:47.660" v="9824" actId="113"/>
          <ac:spMkLst>
            <pc:docMk/>
            <pc:sldMk cId="2672365775" sldId="738"/>
            <ac:spMk id="7" creationId="{F4DCBDBD-35D4-F4EB-CA17-1F8C5AC4057B}"/>
          </ac:spMkLst>
        </pc:spChg>
        <pc:spChg chg="add mod">
          <ac:chgData name="Bitschi Klaus" userId="be151f9e-4017-4512-bd12-7566c28afe2f" providerId="ADAL" clId="{E82091F1-98FB-416D-8C15-6657EA98CE27}" dt="2024-03-10T21:03:00.228" v="2875" actId="1037"/>
          <ac:spMkLst>
            <pc:docMk/>
            <pc:sldMk cId="2672365775" sldId="738"/>
            <ac:spMk id="8" creationId="{2A551022-6FB8-AB56-1A97-01207818D652}"/>
          </ac:spMkLst>
        </pc:spChg>
        <pc:spChg chg="add mod">
          <ac:chgData name="Bitschi Klaus" userId="be151f9e-4017-4512-bd12-7566c28afe2f" providerId="ADAL" clId="{E82091F1-98FB-416D-8C15-6657EA98CE27}" dt="2024-03-10T21:03:19.620" v="2915" actId="20577"/>
          <ac:spMkLst>
            <pc:docMk/>
            <pc:sldMk cId="2672365775" sldId="738"/>
            <ac:spMk id="9" creationId="{7B2B8F6B-E32F-1509-94B7-FB5EE13BDAB2}"/>
          </ac:spMkLst>
        </pc:spChg>
        <pc:spChg chg="add mod">
          <ac:chgData name="Bitschi Klaus" userId="be151f9e-4017-4512-bd12-7566c28afe2f" providerId="ADAL" clId="{E82091F1-98FB-416D-8C15-6657EA98CE27}" dt="2024-03-11T15:31:55.117" v="9825" actId="113"/>
          <ac:spMkLst>
            <pc:docMk/>
            <pc:sldMk cId="2672365775" sldId="738"/>
            <ac:spMk id="10" creationId="{5FAA5D02-EF7E-322A-4814-6859C5249EF8}"/>
          </ac:spMkLst>
        </pc:spChg>
      </pc:sldChg>
      <pc:sldChg chg="addSp delSp modSp add mod">
        <pc:chgData name="Bitschi Klaus" userId="be151f9e-4017-4512-bd12-7566c28afe2f" providerId="ADAL" clId="{E82091F1-98FB-416D-8C15-6657EA98CE27}" dt="2024-03-11T06:51:11.556" v="4211" actId="20577"/>
        <pc:sldMkLst>
          <pc:docMk/>
          <pc:sldMk cId="2715859678" sldId="739"/>
        </pc:sldMkLst>
        <pc:spChg chg="mod">
          <ac:chgData name="Bitschi Klaus" userId="be151f9e-4017-4512-bd12-7566c28afe2f" providerId="ADAL" clId="{E82091F1-98FB-416D-8C15-6657EA98CE27}" dt="2024-03-10T21:05:12.821" v="3023" actId="20577"/>
          <ac:spMkLst>
            <pc:docMk/>
            <pc:sldMk cId="2715859678" sldId="739"/>
            <ac:spMk id="6" creationId="{4BD01D2F-2B90-01B4-0E32-28B087BACBBC}"/>
          </ac:spMkLst>
        </pc:spChg>
        <pc:spChg chg="mod">
          <ac:chgData name="Bitschi Klaus" userId="be151f9e-4017-4512-bd12-7566c28afe2f" providerId="ADAL" clId="{E82091F1-98FB-416D-8C15-6657EA98CE27}" dt="2024-03-11T06:48:25.009" v="4163" actId="1035"/>
          <ac:spMkLst>
            <pc:docMk/>
            <pc:sldMk cId="2715859678" sldId="739"/>
            <ac:spMk id="7" creationId="{F4DCBDBD-35D4-F4EB-CA17-1F8C5AC4057B}"/>
          </ac:spMkLst>
        </pc:spChg>
        <pc:spChg chg="mod">
          <ac:chgData name="Bitschi Klaus" userId="be151f9e-4017-4512-bd12-7566c28afe2f" providerId="ADAL" clId="{E82091F1-98FB-416D-8C15-6657EA98CE27}" dt="2024-03-10T21:05:38.009" v="3052" actId="1076"/>
          <ac:spMkLst>
            <pc:docMk/>
            <pc:sldMk cId="2715859678" sldId="739"/>
            <ac:spMk id="8" creationId="{2A551022-6FB8-AB56-1A97-01207818D652}"/>
          </ac:spMkLst>
        </pc:spChg>
        <pc:spChg chg="mod">
          <ac:chgData name="Bitschi Klaus" userId="be151f9e-4017-4512-bd12-7566c28afe2f" providerId="ADAL" clId="{E82091F1-98FB-416D-8C15-6657EA98CE27}" dt="2024-03-10T21:05:57.724" v="3099" actId="20577"/>
          <ac:spMkLst>
            <pc:docMk/>
            <pc:sldMk cId="2715859678" sldId="739"/>
            <ac:spMk id="9" creationId="{7B2B8F6B-E32F-1509-94B7-FB5EE13BDAB2}"/>
          </ac:spMkLst>
        </pc:spChg>
        <pc:spChg chg="mod">
          <ac:chgData name="Bitschi Klaus" userId="be151f9e-4017-4512-bd12-7566c28afe2f" providerId="ADAL" clId="{E82091F1-98FB-416D-8C15-6657EA98CE27}" dt="2024-03-11T06:48:30.476" v="4173" actId="1035"/>
          <ac:spMkLst>
            <pc:docMk/>
            <pc:sldMk cId="2715859678" sldId="739"/>
            <ac:spMk id="10" creationId="{5FAA5D02-EF7E-322A-4814-6859C5249EF8}"/>
          </ac:spMkLst>
        </pc:spChg>
        <pc:spChg chg="add mod">
          <ac:chgData name="Bitschi Klaus" userId="be151f9e-4017-4512-bd12-7566c28afe2f" providerId="ADAL" clId="{E82091F1-98FB-416D-8C15-6657EA98CE27}" dt="2024-03-10T21:06:06.004" v="3100"/>
          <ac:spMkLst>
            <pc:docMk/>
            <pc:sldMk cId="2715859678" sldId="739"/>
            <ac:spMk id="11" creationId="{6DF2DB8B-E491-A0A0-786F-ABC6F5C59BCB}"/>
          </ac:spMkLst>
        </pc:spChg>
        <pc:spChg chg="add del mod">
          <ac:chgData name="Bitschi Klaus" userId="be151f9e-4017-4512-bd12-7566c28afe2f" providerId="ADAL" clId="{E82091F1-98FB-416D-8C15-6657EA98CE27}" dt="2024-03-10T21:06:24.989" v="3103" actId="478"/>
          <ac:spMkLst>
            <pc:docMk/>
            <pc:sldMk cId="2715859678" sldId="739"/>
            <ac:spMk id="12" creationId="{05775A82-D8AE-E2FC-B641-0988B0E09E70}"/>
          </ac:spMkLst>
        </pc:spChg>
        <pc:spChg chg="add mod">
          <ac:chgData name="Bitschi Klaus" userId="be151f9e-4017-4512-bd12-7566c28afe2f" providerId="ADAL" clId="{E82091F1-98FB-416D-8C15-6657EA98CE27}" dt="2024-03-10T21:06:53.940" v="3105" actId="1076"/>
          <ac:spMkLst>
            <pc:docMk/>
            <pc:sldMk cId="2715859678" sldId="739"/>
            <ac:spMk id="13" creationId="{0377C2DA-9DB8-5074-95D6-81D9E96B275D}"/>
          </ac:spMkLst>
        </pc:spChg>
        <pc:spChg chg="add mod">
          <ac:chgData name="Bitschi Klaus" userId="be151f9e-4017-4512-bd12-7566c28afe2f" providerId="ADAL" clId="{E82091F1-98FB-416D-8C15-6657EA98CE27}" dt="2024-03-10T21:11:35.118" v="3117" actId="20577"/>
          <ac:spMkLst>
            <pc:docMk/>
            <pc:sldMk cId="2715859678" sldId="739"/>
            <ac:spMk id="14" creationId="{66D99148-06C8-E3BC-CF05-8CBB2B7F5E8B}"/>
          </ac:spMkLst>
        </pc:spChg>
        <pc:spChg chg="add mod">
          <ac:chgData name="Bitschi Klaus" userId="be151f9e-4017-4512-bd12-7566c28afe2f" providerId="ADAL" clId="{E82091F1-98FB-416D-8C15-6657EA98CE27}" dt="2024-03-11T06:48:39.815" v="4193" actId="1035"/>
          <ac:spMkLst>
            <pc:docMk/>
            <pc:sldMk cId="2715859678" sldId="739"/>
            <ac:spMk id="15" creationId="{595F1BC8-B632-21E4-A7FE-9EBBB56E14F6}"/>
          </ac:spMkLst>
        </pc:spChg>
        <pc:spChg chg="add mod">
          <ac:chgData name="Bitschi Klaus" userId="be151f9e-4017-4512-bd12-7566c28afe2f" providerId="ADAL" clId="{E82091F1-98FB-416D-8C15-6657EA98CE27}" dt="2024-03-11T06:48:39.815" v="4193" actId="1035"/>
          <ac:spMkLst>
            <pc:docMk/>
            <pc:sldMk cId="2715859678" sldId="739"/>
            <ac:spMk id="16" creationId="{39A758DE-06E9-1141-502C-326E86179398}"/>
          </ac:spMkLst>
        </pc:spChg>
        <pc:spChg chg="add mod">
          <ac:chgData name="Bitschi Klaus" userId="be151f9e-4017-4512-bd12-7566c28afe2f" providerId="ADAL" clId="{E82091F1-98FB-416D-8C15-6657EA98CE27}" dt="2024-03-11T06:49:09.591" v="4195" actId="1076"/>
          <ac:spMkLst>
            <pc:docMk/>
            <pc:sldMk cId="2715859678" sldId="739"/>
            <ac:spMk id="17" creationId="{815412C2-CF8E-A51E-20F8-17172F28D691}"/>
          </ac:spMkLst>
        </pc:spChg>
        <pc:spChg chg="add mod">
          <ac:chgData name="Bitschi Klaus" userId="be151f9e-4017-4512-bd12-7566c28afe2f" providerId="ADAL" clId="{E82091F1-98FB-416D-8C15-6657EA98CE27}" dt="2024-03-11T06:51:11.556" v="4211" actId="20577"/>
          <ac:spMkLst>
            <pc:docMk/>
            <pc:sldMk cId="2715859678" sldId="739"/>
            <ac:spMk id="18" creationId="{3E433569-83E8-2FE8-F84B-673845DE7E1D}"/>
          </ac:spMkLst>
        </pc:spChg>
      </pc:sldChg>
      <pc:sldChg chg="addSp delSp modSp add mod">
        <pc:chgData name="Bitschi Klaus" userId="be151f9e-4017-4512-bd12-7566c28afe2f" providerId="ADAL" clId="{E82091F1-98FB-416D-8C15-6657EA98CE27}" dt="2024-03-11T15:54:31.481" v="9831" actId="478"/>
        <pc:sldMkLst>
          <pc:docMk/>
          <pc:sldMk cId="3857670414" sldId="740"/>
        </pc:sldMkLst>
        <pc:spChg chg="mod">
          <ac:chgData name="Bitschi Klaus" userId="be151f9e-4017-4512-bd12-7566c28afe2f" providerId="ADAL" clId="{E82091F1-98FB-416D-8C15-6657EA98CE27}" dt="2024-03-10T21:17:01.234" v="3368" actId="20577"/>
          <ac:spMkLst>
            <pc:docMk/>
            <pc:sldMk cId="3857670414" sldId="740"/>
            <ac:spMk id="6" creationId="{4BD01D2F-2B90-01B4-0E32-28B087BACBBC}"/>
          </ac:spMkLst>
        </pc:spChg>
        <pc:spChg chg="mod">
          <ac:chgData name="Bitschi Klaus" userId="be151f9e-4017-4512-bd12-7566c28afe2f" providerId="ADAL" clId="{E82091F1-98FB-416D-8C15-6657EA98CE27}" dt="2024-03-11T15:53:48.727" v="9828" actId="113"/>
          <ac:spMkLst>
            <pc:docMk/>
            <pc:sldMk cId="3857670414" sldId="740"/>
            <ac:spMk id="7" creationId="{F4DCBDBD-35D4-F4EB-CA17-1F8C5AC4057B}"/>
          </ac:spMkLst>
        </pc:spChg>
        <pc:spChg chg="mod">
          <ac:chgData name="Bitschi Klaus" userId="be151f9e-4017-4512-bd12-7566c28afe2f" providerId="ADAL" clId="{E82091F1-98FB-416D-8C15-6657EA98CE27}" dt="2024-03-10T21:19:31.164" v="3597" actId="1035"/>
          <ac:spMkLst>
            <pc:docMk/>
            <pc:sldMk cId="3857670414" sldId="740"/>
            <ac:spMk id="8" creationId="{2A551022-6FB8-AB56-1A97-01207818D652}"/>
          </ac:spMkLst>
        </pc:spChg>
        <pc:spChg chg="mod">
          <ac:chgData name="Bitschi Klaus" userId="be151f9e-4017-4512-bd12-7566c28afe2f" providerId="ADAL" clId="{E82091F1-98FB-416D-8C15-6657EA98CE27}" dt="2024-03-10T21:19:31.164" v="3597" actId="1035"/>
          <ac:spMkLst>
            <pc:docMk/>
            <pc:sldMk cId="3857670414" sldId="740"/>
            <ac:spMk id="9" creationId="{7B2B8F6B-E32F-1509-94B7-FB5EE13BDAB2}"/>
          </ac:spMkLst>
        </pc:spChg>
        <pc:spChg chg="del mod">
          <ac:chgData name="Bitschi Klaus" userId="be151f9e-4017-4512-bd12-7566c28afe2f" providerId="ADAL" clId="{E82091F1-98FB-416D-8C15-6657EA98CE27}" dt="2024-03-10T21:27:04.264" v="3719" actId="478"/>
          <ac:spMkLst>
            <pc:docMk/>
            <pc:sldMk cId="3857670414" sldId="740"/>
            <ac:spMk id="10" creationId="{5FAA5D02-EF7E-322A-4814-6859C5249EF8}"/>
          </ac:spMkLst>
        </pc:spChg>
        <pc:spChg chg="add mod">
          <ac:chgData name="Bitschi Klaus" userId="be151f9e-4017-4512-bd12-7566c28afe2f" providerId="ADAL" clId="{E82091F1-98FB-416D-8C15-6657EA98CE27}" dt="2024-03-11T15:53:56.711" v="9829" actId="113"/>
          <ac:spMkLst>
            <pc:docMk/>
            <pc:sldMk cId="3857670414" sldId="740"/>
            <ac:spMk id="11" creationId="{FAAE5035-6F03-A443-3D6B-52397F2AF7C6}"/>
          </ac:spMkLst>
        </pc:spChg>
        <pc:spChg chg="add del mod">
          <ac:chgData name="Bitschi Klaus" userId="be151f9e-4017-4512-bd12-7566c28afe2f" providerId="ADAL" clId="{E82091F1-98FB-416D-8C15-6657EA98CE27}" dt="2024-03-11T15:54:31.481" v="9831" actId="478"/>
          <ac:spMkLst>
            <pc:docMk/>
            <pc:sldMk cId="3857670414" sldId="740"/>
            <ac:spMk id="12" creationId="{D0035DA0-65D6-3F79-DA1E-14AE1891A02C}"/>
          </ac:spMkLst>
        </pc:spChg>
        <pc:spChg chg="del mod">
          <ac:chgData name="Bitschi Klaus" userId="be151f9e-4017-4512-bd12-7566c28afe2f" providerId="ADAL" clId="{E82091F1-98FB-416D-8C15-6657EA98CE27}" dt="2024-03-11T15:54:06.028" v="9830" actId="478"/>
          <ac:spMkLst>
            <pc:docMk/>
            <pc:sldMk cId="3857670414" sldId="740"/>
            <ac:spMk id="13" creationId="{0377C2DA-9DB8-5074-95D6-81D9E96B275D}"/>
          </ac:spMkLst>
        </pc:spChg>
        <pc:spChg chg="del mod">
          <ac:chgData name="Bitschi Klaus" userId="be151f9e-4017-4512-bd12-7566c28afe2f" providerId="ADAL" clId="{E82091F1-98FB-416D-8C15-6657EA98CE27}" dt="2024-03-11T15:54:06.028" v="9830" actId="478"/>
          <ac:spMkLst>
            <pc:docMk/>
            <pc:sldMk cId="3857670414" sldId="740"/>
            <ac:spMk id="14" creationId="{66D99148-06C8-E3BC-CF05-8CBB2B7F5E8B}"/>
          </ac:spMkLst>
        </pc:spChg>
        <pc:spChg chg="del mod">
          <ac:chgData name="Bitschi Klaus" userId="be151f9e-4017-4512-bd12-7566c28afe2f" providerId="ADAL" clId="{E82091F1-98FB-416D-8C15-6657EA98CE27}" dt="2024-03-10T21:27:08.848" v="3720" actId="478"/>
          <ac:spMkLst>
            <pc:docMk/>
            <pc:sldMk cId="3857670414" sldId="740"/>
            <ac:spMk id="15" creationId="{595F1BC8-B632-21E4-A7FE-9EBBB56E14F6}"/>
          </ac:spMkLst>
        </pc:spChg>
        <pc:spChg chg="del mod">
          <ac:chgData name="Bitschi Klaus" userId="be151f9e-4017-4512-bd12-7566c28afe2f" providerId="ADAL" clId="{E82091F1-98FB-416D-8C15-6657EA98CE27}" dt="2024-03-10T21:27:08.848" v="3720" actId="478"/>
          <ac:spMkLst>
            <pc:docMk/>
            <pc:sldMk cId="3857670414" sldId="740"/>
            <ac:spMk id="16" creationId="{39A758DE-06E9-1141-502C-326E86179398}"/>
          </ac:spMkLst>
        </pc:spChg>
        <pc:spChg chg="add del mod">
          <ac:chgData name="Bitschi Klaus" userId="be151f9e-4017-4512-bd12-7566c28afe2f" providerId="ADAL" clId="{E82091F1-98FB-416D-8C15-6657EA98CE27}" dt="2024-03-11T15:54:31.481" v="9831" actId="478"/>
          <ac:spMkLst>
            <pc:docMk/>
            <pc:sldMk cId="3857670414" sldId="740"/>
            <ac:spMk id="17" creationId="{F57E873B-DF9F-312E-89AF-1CA7B7E7C9D0}"/>
          </ac:spMkLst>
        </pc:spChg>
        <pc:spChg chg="add del mod">
          <ac:chgData name="Bitschi Klaus" userId="be151f9e-4017-4512-bd12-7566c28afe2f" providerId="ADAL" clId="{E82091F1-98FB-416D-8C15-6657EA98CE27}" dt="2024-03-11T15:54:31.481" v="9831" actId="478"/>
          <ac:spMkLst>
            <pc:docMk/>
            <pc:sldMk cId="3857670414" sldId="740"/>
            <ac:spMk id="18" creationId="{8577B477-A7B8-43E1-2154-FFBFACAD4164}"/>
          </ac:spMkLst>
        </pc:spChg>
        <pc:spChg chg="add del mod">
          <ac:chgData name="Bitschi Klaus" userId="be151f9e-4017-4512-bd12-7566c28afe2f" providerId="ADAL" clId="{E82091F1-98FB-416D-8C15-6657EA98CE27}" dt="2024-03-11T15:53:33.589" v="9826" actId="478"/>
          <ac:spMkLst>
            <pc:docMk/>
            <pc:sldMk cId="3857670414" sldId="740"/>
            <ac:spMk id="20" creationId="{8FEDA671-3B94-9832-27FB-94E58390E720}"/>
          </ac:spMkLst>
        </pc:spChg>
      </pc:sldChg>
      <pc:sldChg chg="delSp modSp add mod ord">
        <pc:chgData name="Bitschi Klaus" userId="be151f9e-4017-4512-bd12-7566c28afe2f" providerId="ADAL" clId="{E82091F1-98FB-416D-8C15-6657EA98CE27}" dt="2024-03-11T18:08:44.042" v="9974" actId="113"/>
        <pc:sldMkLst>
          <pc:docMk/>
          <pc:sldMk cId="2165231699" sldId="741"/>
        </pc:sldMkLst>
        <pc:spChg chg="del">
          <ac:chgData name="Bitschi Klaus" userId="be151f9e-4017-4512-bd12-7566c28afe2f" providerId="ADAL" clId="{E82091F1-98FB-416D-8C15-6657EA98CE27}" dt="2024-03-11T07:10:18.887" v="4213" actId="478"/>
          <ac:spMkLst>
            <pc:docMk/>
            <pc:sldMk cId="2165231699" sldId="741"/>
            <ac:spMk id="3" creationId="{4A296D60-3631-2822-D379-8C900D7DAA40}"/>
          </ac:spMkLst>
        </pc:spChg>
        <pc:spChg chg="del">
          <ac:chgData name="Bitschi Klaus" userId="be151f9e-4017-4512-bd12-7566c28afe2f" providerId="ADAL" clId="{E82091F1-98FB-416D-8C15-6657EA98CE27}" dt="2024-03-11T07:10:18.887" v="4213" actId="478"/>
          <ac:spMkLst>
            <pc:docMk/>
            <pc:sldMk cId="2165231699" sldId="741"/>
            <ac:spMk id="6" creationId="{4BD01D2F-2B90-01B4-0E32-28B087BACBBC}"/>
          </ac:spMkLst>
        </pc:spChg>
        <pc:spChg chg="del">
          <ac:chgData name="Bitschi Klaus" userId="be151f9e-4017-4512-bd12-7566c28afe2f" providerId="ADAL" clId="{E82091F1-98FB-416D-8C15-6657EA98CE27}" dt="2024-03-11T07:10:18.887" v="4213" actId="478"/>
          <ac:spMkLst>
            <pc:docMk/>
            <pc:sldMk cId="2165231699" sldId="741"/>
            <ac:spMk id="7" creationId="{F4DCBDBD-35D4-F4EB-CA17-1F8C5AC4057B}"/>
          </ac:spMkLst>
        </pc:spChg>
        <pc:spChg chg="del">
          <ac:chgData name="Bitschi Klaus" userId="be151f9e-4017-4512-bd12-7566c28afe2f" providerId="ADAL" clId="{E82091F1-98FB-416D-8C15-6657EA98CE27}" dt="2024-03-11T07:10:18.887" v="4213" actId="478"/>
          <ac:spMkLst>
            <pc:docMk/>
            <pc:sldMk cId="2165231699" sldId="741"/>
            <ac:spMk id="8" creationId="{2A551022-6FB8-AB56-1A97-01207818D652}"/>
          </ac:spMkLst>
        </pc:spChg>
        <pc:spChg chg="del">
          <ac:chgData name="Bitschi Klaus" userId="be151f9e-4017-4512-bd12-7566c28afe2f" providerId="ADAL" clId="{E82091F1-98FB-416D-8C15-6657EA98CE27}" dt="2024-03-11T07:10:18.887" v="4213" actId="478"/>
          <ac:spMkLst>
            <pc:docMk/>
            <pc:sldMk cId="2165231699" sldId="741"/>
            <ac:spMk id="9" creationId="{7B2B8F6B-E32F-1509-94B7-FB5EE13BDAB2}"/>
          </ac:spMkLst>
        </pc:spChg>
        <pc:spChg chg="del">
          <ac:chgData name="Bitschi Klaus" userId="be151f9e-4017-4512-bd12-7566c28afe2f" providerId="ADAL" clId="{E82091F1-98FB-416D-8C15-6657EA98CE27}" dt="2024-03-11T07:10:18.887" v="4213" actId="478"/>
          <ac:spMkLst>
            <pc:docMk/>
            <pc:sldMk cId="2165231699" sldId="741"/>
            <ac:spMk id="11" creationId="{FAAE5035-6F03-A443-3D6B-52397F2AF7C6}"/>
          </ac:spMkLst>
        </pc:spChg>
        <pc:spChg chg="mod">
          <ac:chgData name="Bitschi Klaus" userId="be151f9e-4017-4512-bd12-7566c28afe2f" providerId="ADAL" clId="{E82091F1-98FB-416D-8C15-6657EA98CE27}" dt="2024-03-11T07:10:28.421" v="4214" actId="1076"/>
          <ac:spMkLst>
            <pc:docMk/>
            <pc:sldMk cId="2165231699" sldId="741"/>
            <ac:spMk id="12" creationId="{D0035DA0-65D6-3F79-DA1E-14AE1891A02C}"/>
          </ac:spMkLst>
        </pc:spChg>
        <pc:spChg chg="del">
          <ac:chgData name="Bitschi Klaus" userId="be151f9e-4017-4512-bd12-7566c28afe2f" providerId="ADAL" clId="{E82091F1-98FB-416D-8C15-6657EA98CE27}" dt="2024-03-11T07:10:18.887" v="4213" actId="478"/>
          <ac:spMkLst>
            <pc:docMk/>
            <pc:sldMk cId="2165231699" sldId="741"/>
            <ac:spMk id="13" creationId="{0377C2DA-9DB8-5074-95D6-81D9E96B275D}"/>
          </ac:spMkLst>
        </pc:spChg>
        <pc:spChg chg="del">
          <ac:chgData name="Bitschi Klaus" userId="be151f9e-4017-4512-bd12-7566c28afe2f" providerId="ADAL" clId="{E82091F1-98FB-416D-8C15-6657EA98CE27}" dt="2024-03-11T07:10:18.887" v="4213" actId="478"/>
          <ac:spMkLst>
            <pc:docMk/>
            <pc:sldMk cId="2165231699" sldId="741"/>
            <ac:spMk id="14" creationId="{66D99148-06C8-E3BC-CF05-8CBB2B7F5E8B}"/>
          </ac:spMkLst>
        </pc:spChg>
        <pc:spChg chg="mod">
          <ac:chgData name="Bitschi Klaus" userId="be151f9e-4017-4512-bd12-7566c28afe2f" providerId="ADAL" clId="{E82091F1-98FB-416D-8C15-6657EA98CE27}" dt="2024-03-11T07:10:28.421" v="4214" actId="1076"/>
          <ac:spMkLst>
            <pc:docMk/>
            <pc:sldMk cId="2165231699" sldId="741"/>
            <ac:spMk id="17" creationId="{F57E873B-DF9F-312E-89AF-1CA7B7E7C9D0}"/>
          </ac:spMkLst>
        </pc:spChg>
        <pc:spChg chg="mod">
          <ac:chgData name="Bitschi Klaus" userId="be151f9e-4017-4512-bd12-7566c28afe2f" providerId="ADAL" clId="{E82091F1-98FB-416D-8C15-6657EA98CE27}" dt="2024-03-11T18:08:44.042" v="9974" actId="113"/>
          <ac:spMkLst>
            <pc:docMk/>
            <pc:sldMk cId="2165231699" sldId="741"/>
            <ac:spMk id="18" creationId="{8577B477-A7B8-43E1-2154-FFBFACAD4164}"/>
          </ac:spMkLst>
        </pc:spChg>
        <pc:spChg chg="del mod">
          <ac:chgData name="Bitschi Klaus" userId="be151f9e-4017-4512-bd12-7566c28afe2f" providerId="ADAL" clId="{E82091F1-98FB-416D-8C15-6657EA98CE27}" dt="2024-03-11T07:14:01.667" v="4684" actId="478"/>
          <ac:spMkLst>
            <pc:docMk/>
            <pc:sldMk cId="2165231699" sldId="741"/>
            <ac:spMk id="20" creationId="{8FEDA671-3B94-9832-27FB-94E58390E720}"/>
          </ac:spMkLst>
        </pc:spChg>
      </pc:sldChg>
      <pc:sldChg chg="addSp delSp modSp add del mod">
        <pc:chgData name="Bitschi Klaus" userId="be151f9e-4017-4512-bd12-7566c28afe2f" providerId="ADAL" clId="{E82091F1-98FB-416D-8C15-6657EA98CE27}" dt="2024-03-11T08:24:04.066" v="5463" actId="47"/>
        <pc:sldMkLst>
          <pc:docMk/>
          <pc:sldMk cId="842422946" sldId="742"/>
        </pc:sldMkLst>
        <pc:spChg chg="mod">
          <ac:chgData name="Bitschi Klaus" userId="be151f9e-4017-4512-bd12-7566c28afe2f" providerId="ADAL" clId="{E82091F1-98FB-416D-8C15-6657EA98CE27}" dt="2024-03-11T07:31:37.099" v="4876" actId="20577"/>
          <ac:spMkLst>
            <pc:docMk/>
            <pc:sldMk cId="842422946" sldId="742"/>
            <ac:spMk id="2" creationId="{00000000-0000-0000-0000-000000000000}"/>
          </ac:spMkLst>
        </pc:spChg>
        <pc:spChg chg="del">
          <ac:chgData name="Bitschi Klaus" userId="be151f9e-4017-4512-bd12-7566c28afe2f" providerId="ADAL" clId="{E82091F1-98FB-416D-8C15-6657EA98CE27}" dt="2024-03-11T07:31:24.751" v="4872" actId="478"/>
          <ac:spMkLst>
            <pc:docMk/>
            <pc:sldMk cId="842422946" sldId="742"/>
            <ac:spMk id="3" creationId="{9B621921-30CE-3F16-79D3-43AC8E57A51F}"/>
          </ac:spMkLst>
        </pc:spChg>
        <pc:spChg chg="del">
          <ac:chgData name="Bitschi Klaus" userId="be151f9e-4017-4512-bd12-7566c28afe2f" providerId="ADAL" clId="{E82091F1-98FB-416D-8C15-6657EA98CE27}" dt="2024-03-11T07:31:24.751" v="4872" actId="478"/>
          <ac:spMkLst>
            <pc:docMk/>
            <pc:sldMk cId="842422946" sldId="742"/>
            <ac:spMk id="7" creationId="{DD831E69-7760-AB90-A65D-F17CAEBD57A2}"/>
          </ac:spMkLst>
        </pc:spChg>
        <pc:picChg chg="add">
          <ac:chgData name="Bitschi Klaus" userId="be151f9e-4017-4512-bd12-7566c28afe2f" providerId="ADAL" clId="{E82091F1-98FB-416D-8C15-6657EA98CE27}" dt="2024-03-11T07:33:09.498" v="4881" actId="22"/>
          <ac:picMkLst>
            <pc:docMk/>
            <pc:sldMk cId="842422946" sldId="742"/>
            <ac:picMk id="8" creationId="{E3395D45-B23C-1487-6C9F-49B6E2CDDB79}"/>
          </ac:picMkLst>
        </pc:picChg>
        <pc:picChg chg="del">
          <ac:chgData name="Bitschi Klaus" userId="be151f9e-4017-4512-bd12-7566c28afe2f" providerId="ADAL" clId="{E82091F1-98FB-416D-8C15-6657EA98CE27}" dt="2024-03-11T07:31:28.518" v="4873" actId="478"/>
          <ac:picMkLst>
            <pc:docMk/>
            <pc:sldMk cId="842422946" sldId="742"/>
            <ac:picMk id="9" creationId="{3836885C-973B-9CCA-4B1E-50293CD35790}"/>
          </ac:picMkLst>
        </pc:picChg>
        <pc:inkChg chg="del">
          <ac:chgData name="Bitschi Klaus" userId="be151f9e-4017-4512-bd12-7566c28afe2f" providerId="ADAL" clId="{E82091F1-98FB-416D-8C15-6657EA98CE27}" dt="2024-03-11T07:31:31.382" v="4874" actId="478"/>
          <ac:inkMkLst>
            <pc:docMk/>
            <pc:sldMk cId="842422946" sldId="742"/>
            <ac:inkMk id="11" creationId="{51C5BB9E-78C9-D4FA-007C-698C6D7DEE1A}"/>
          </ac:inkMkLst>
        </pc:inkChg>
      </pc:sldChg>
      <pc:sldChg chg="addSp delSp modSp add mod ord">
        <pc:chgData name="Bitschi Klaus" userId="be151f9e-4017-4512-bd12-7566c28afe2f" providerId="ADAL" clId="{E82091F1-98FB-416D-8C15-6657EA98CE27}" dt="2024-03-11T08:24:30.462" v="5512" actId="1036"/>
        <pc:sldMkLst>
          <pc:docMk/>
          <pc:sldMk cId="3559608151" sldId="743"/>
        </pc:sldMkLst>
        <pc:spChg chg="mod">
          <ac:chgData name="Bitschi Klaus" userId="be151f9e-4017-4512-bd12-7566c28afe2f" providerId="ADAL" clId="{E82091F1-98FB-416D-8C15-6657EA98CE27}" dt="2024-03-11T08:24:30.462" v="5512" actId="1036"/>
          <ac:spMkLst>
            <pc:docMk/>
            <pc:sldMk cId="3559608151" sldId="743"/>
            <ac:spMk id="2" creationId="{00000000-0000-0000-0000-000000000000}"/>
          </ac:spMkLst>
        </pc:spChg>
        <pc:spChg chg="mod">
          <ac:chgData name="Bitschi Klaus" userId="be151f9e-4017-4512-bd12-7566c28afe2f" providerId="ADAL" clId="{E82091F1-98FB-416D-8C15-6657EA98CE27}" dt="2024-03-11T07:54:32.396" v="5036" actId="1036"/>
          <ac:spMkLst>
            <pc:docMk/>
            <pc:sldMk cId="3559608151" sldId="743"/>
            <ac:spMk id="3" creationId="{9B621921-30CE-3F16-79D3-43AC8E57A51F}"/>
          </ac:spMkLst>
        </pc:spChg>
        <pc:spChg chg="mod">
          <ac:chgData name="Bitschi Klaus" userId="be151f9e-4017-4512-bd12-7566c28afe2f" providerId="ADAL" clId="{E82091F1-98FB-416D-8C15-6657EA98CE27}" dt="2024-03-11T07:54:32.396" v="5036" actId="1036"/>
          <ac:spMkLst>
            <pc:docMk/>
            <pc:sldMk cId="3559608151" sldId="743"/>
            <ac:spMk id="7" creationId="{DD831E69-7760-AB90-A65D-F17CAEBD57A2}"/>
          </ac:spMkLst>
        </pc:spChg>
        <pc:spChg chg="mod">
          <ac:chgData name="Bitschi Klaus" userId="be151f9e-4017-4512-bd12-7566c28afe2f" providerId="ADAL" clId="{E82091F1-98FB-416D-8C15-6657EA98CE27}" dt="2024-03-11T08:23:29.345" v="5462" actId="255"/>
          <ac:spMkLst>
            <pc:docMk/>
            <pc:sldMk cId="3559608151" sldId="743"/>
            <ac:spMk id="10" creationId="{4E05CB52-3B5B-9BD9-7EAE-03B78F0CFBAC}"/>
          </ac:spMkLst>
        </pc:spChg>
        <pc:picChg chg="add mod">
          <ac:chgData name="Bitschi Klaus" userId="be151f9e-4017-4512-bd12-7566c28afe2f" providerId="ADAL" clId="{E82091F1-98FB-416D-8C15-6657EA98CE27}" dt="2024-03-11T07:54:25.822" v="5029" actId="1035"/>
          <ac:picMkLst>
            <pc:docMk/>
            <pc:sldMk cId="3559608151" sldId="743"/>
            <ac:picMk id="8" creationId="{597FD96C-B413-FFE1-241C-2CCC6147FF02}"/>
          </ac:picMkLst>
        </pc:picChg>
        <pc:picChg chg="del">
          <ac:chgData name="Bitschi Klaus" userId="be151f9e-4017-4512-bd12-7566c28afe2f" providerId="ADAL" clId="{E82091F1-98FB-416D-8C15-6657EA98CE27}" dt="2024-03-11T07:34:20.215" v="4941" actId="478"/>
          <ac:picMkLst>
            <pc:docMk/>
            <pc:sldMk cId="3559608151" sldId="743"/>
            <ac:picMk id="9" creationId="{3836885C-973B-9CCA-4B1E-50293CD35790}"/>
          </ac:picMkLst>
        </pc:picChg>
        <pc:picChg chg="add mod">
          <ac:chgData name="Bitschi Klaus" userId="be151f9e-4017-4512-bd12-7566c28afe2f" providerId="ADAL" clId="{E82091F1-98FB-416D-8C15-6657EA98CE27}" dt="2024-03-11T07:54:25.822" v="5029" actId="1035"/>
          <ac:picMkLst>
            <pc:docMk/>
            <pc:sldMk cId="3559608151" sldId="743"/>
            <ac:picMk id="13" creationId="{0FA5F6DC-9A43-DD59-7242-D63409DA0F14}"/>
          </ac:picMkLst>
        </pc:picChg>
        <pc:inkChg chg="del">
          <ac:chgData name="Bitschi Klaus" userId="be151f9e-4017-4512-bd12-7566c28afe2f" providerId="ADAL" clId="{E82091F1-98FB-416D-8C15-6657EA98CE27}" dt="2024-03-11T07:34:24.421" v="4942" actId="478"/>
          <ac:inkMkLst>
            <pc:docMk/>
            <pc:sldMk cId="3559608151" sldId="743"/>
            <ac:inkMk id="11" creationId="{51C5BB9E-78C9-D4FA-007C-698C6D7DEE1A}"/>
          </ac:inkMkLst>
        </pc:inkChg>
        <pc:inkChg chg="add del">
          <ac:chgData name="Bitschi Klaus" userId="be151f9e-4017-4512-bd12-7566c28afe2f" providerId="ADAL" clId="{E82091F1-98FB-416D-8C15-6657EA98CE27}" dt="2024-03-11T07:56:56.147" v="5052" actId="9405"/>
          <ac:inkMkLst>
            <pc:docMk/>
            <pc:sldMk cId="3559608151" sldId="743"/>
            <ac:inkMk id="14" creationId="{EB578E93-A59E-7256-EF06-380A5F921C9F}"/>
          </ac:inkMkLst>
        </pc:inkChg>
        <pc:inkChg chg="add del">
          <ac:chgData name="Bitschi Klaus" userId="be151f9e-4017-4512-bd12-7566c28afe2f" providerId="ADAL" clId="{E82091F1-98FB-416D-8C15-6657EA98CE27}" dt="2024-03-11T07:57:00.071" v="5054" actId="9405"/>
          <ac:inkMkLst>
            <pc:docMk/>
            <pc:sldMk cId="3559608151" sldId="743"/>
            <ac:inkMk id="15" creationId="{71B6284A-0BB5-CA88-17FB-BCAE776651EF}"/>
          </ac:inkMkLst>
        </pc:inkChg>
        <pc:inkChg chg="add">
          <ac:chgData name="Bitschi Klaus" userId="be151f9e-4017-4512-bd12-7566c28afe2f" providerId="ADAL" clId="{E82091F1-98FB-416D-8C15-6657EA98CE27}" dt="2024-03-11T07:57:04.109" v="5055" actId="9405"/>
          <ac:inkMkLst>
            <pc:docMk/>
            <pc:sldMk cId="3559608151" sldId="743"/>
            <ac:inkMk id="16" creationId="{1DD51D5F-B120-E840-59DA-716524264217}"/>
          </ac:inkMkLst>
        </pc:inkChg>
        <pc:inkChg chg="add">
          <ac:chgData name="Bitschi Klaus" userId="be151f9e-4017-4512-bd12-7566c28afe2f" providerId="ADAL" clId="{E82091F1-98FB-416D-8C15-6657EA98CE27}" dt="2024-03-11T07:57:07.989" v="5056" actId="9405"/>
          <ac:inkMkLst>
            <pc:docMk/>
            <pc:sldMk cId="3559608151" sldId="743"/>
            <ac:inkMk id="17" creationId="{73E2D246-CB77-7AE0-78D0-3A4D7AC2D4F5}"/>
          </ac:inkMkLst>
        </pc:inkChg>
        <pc:inkChg chg="add">
          <ac:chgData name="Bitschi Klaus" userId="be151f9e-4017-4512-bd12-7566c28afe2f" providerId="ADAL" clId="{E82091F1-98FB-416D-8C15-6657EA98CE27}" dt="2024-03-11T07:57:20.446" v="5057" actId="9405"/>
          <ac:inkMkLst>
            <pc:docMk/>
            <pc:sldMk cId="3559608151" sldId="743"/>
            <ac:inkMk id="18" creationId="{A5629FE5-344E-CD73-CA1D-85C8834A315D}"/>
          </ac:inkMkLst>
        </pc:inkChg>
      </pc:sldChg>
      <pc:sldChg chg="addSp delSp modSp add mod">
        <pc:chgData name="Bitschi Klaus" userId="be151f9e-4017-4512-bd12-7566c28afe2f" providerId="ADAL" clId="{E82091F1-98FB-416D-8C15-6657EA98CE27}" dt="2024-03-11T14:19:01.828" v="7619" actId="14100"/>
        <pc:sldMkLst>
          <pc:docMk/>
          <pc:sldMk cId="528034519" sldId="744"/>
        </pc:sldMkLst>
        <pc:spChg chg="add mod">
          <ac:chgData name="Bitschi Klaus" userId="be151f9e-4017-4512-bd12-7566c28afe2f" providerId="ADAL" clId="{E82091F1-98FB-416D-8C15-6657EA98CE27}" dt="2024-03-11T14:19:01.828" v="7619" actId="14100"/>
          <ac:spMkLst>
            <pc:docMk/>
            <pc:sldMk cId="528034519" sldId="744"/>
            <ac:spMk id="8" creationId="{032EDD58-9F5E-836F-717E-4452687887D2}"/>
          </ac:spMkLst>
        </pc:spChg>
        <pc:picChg chg="add mod">
          <ac:chgData name="Bitschi Klaus" userId="be151f9e-4017-4512-bd12-7566c28afe2f" providerId="ADAL" clId="{E82091F1-98FB-416D-8C15-6657EA98CE27}" dt="2024-03-11T13:57:26.587" v="7097" actId="1076"/>
          <ac:picMkLst>
            <pc:docMk/>
            <pc:sldMk cId="528034519" sldId="744"/>
            <ac:picMk id="6" creationId="{E31D9BED-6D2D-5BE5-D8C3-21B2C9277902}"/>
          </ac:picMkLst>
        </pc:picChg>
        <pc:picChg chg="add del mod">
          <ac:chgData name="Bitschi Klaus" userId="be151f9e-4017-4512-bd12-7566c28afe2f" providerId="ADAL" clId="{E82091F1-98FB-416D-8C15-6657EA98CE27}" dt="2024-03-11T14:06:16.751" v="7102" actId="478"/>
          <ac:picMkLst>
            <pc:docMk/>
            <pc:sldMk cId="528034519" sldId="744"/>
            <ac:picMk id="7" creationId="{6B06FA13-C495-54A5-B15C-741D4E2D9160}"/>
          </ac:picMkLst>
        </pc:picChg>
        <pc:picChg chg="del">
          <ac:chgData name="Bitschi Klaus" userId="be151f9e-4017-4512-bd12-7566c28afe2f" providerId="ADAL" clId="{E82091F1-98FB-416D-8C15-6657EA98CE27}" dt="2024-03-11T13:57:13.225" v="7092" actId="478"/>
          <ac:picMkLst>
            <pc:docMk/>
            <pc:sldMk cId="528034519" sldId="744"/>
            <ac:picMk id="13" creationId="{41E7AEB5-80F7-3417-6359-8B01229B7EC6}"/>
          </ac:picMkLst>
        </pc:picChg>
      </pc:sldChg>
      <pc:sldChg chg="addSp delSp modSp add mod">
        <pc:chgData name="Bitschi Klaus" userId="be151f9e-4017-4512-bd12-7566c28afe2f" providerId="ADAL" clId="{E82091F1-98FB-416D-8C15-6657EA98CE27}" dt="2024-03-11T18:16:37.735" v="9986" actId="6549"/>
        <pc:sldMkLst>
          <pc:docMk/>
          <pc:sldMk cId="3507788170" sldId="745"/>
        </pc:sldMkLst>
        <pc:spChg chg="mod">
          <ac:chgData name="Bitschi Klaus" userId="be151f9e-4017-4512-bd12-7566c28afe2f" providerId="ADAL" clId="{E82091F1-98FB-416D-8C15-6657EA98CE27}" dt="2024-03-11T17:54:19.814" v="9930" actId="20577"/>
          <ac:spMkLst>
            <pc:docMk/>
            <pc:sldMk cId="3507788170" sldId="745"/>
            <ac:spMk id="2" creationId="{00000000-0000-0000-0000-000000000000}"/>
          </ac:spMkLst>
        </pc:spChg>
        <pc:spChg chg="add mod">
          <ac:chgData name="Bitschi Klaus" userId="be151f9e-4017-4512-bd12-7566c28afe2f" providerId="ADAL" clId="{E82091F1-98FB-416D-8C15-6657EA98CE27}" dt="2024-03-11T18:16:37.735" v="9986" actId="6549"/>
          <ac:spMkLst>
            <pc:docMk/>
            <pc:sldMk cId="3507788170" sldId="745"/>
            <ac:spMk id="14" creationId="{F0170884-5D73-4601-36A4-77D7AA838A96}"/>
          </ac:spMkLst>
        </pc:spChg>
        <pc:picChg chg="add del mod">
          <ac:chgData name="Bitschi Klaus" userId="be151f9e-4017-4512-bd12-7566c28afe2f" providerId="ADAL" clId="{E82091F1-98FB-416D-8C15-6657EA98CE27}" dt="2024-03-11T17:55:24.653" v="9934" actId="22"/>
          <ac:picMkLst>
            <pc:docMk/>
            <pc:sldMk cId="3507788170" sldId="745"/>
            <ac:picMk id="10" creationId="{F1853088-542D-B740-28D9-C95BA47EECFC}"/>
          </ac:picMkLst>
        </pc:picChg>
        <pc:picChg chg="del">
          <ac:chgData name="Bitschi Klaus" userId="be151f9e-4017-4512-bd12-7566c28afe2f" providerId="ADAL" clId="{E82091F1-98FB-416D-8C15-6657EA98CE27}" dt="2024-03-11T17:54:03.379" v="9891" actId="478"/>
          <ac:picMkLst>
            <pc:docMk/>
            <pc:sldMk cId="3507788170" sldId="745"/>
            <ac:picMk id="11" creationId="{00000000-0000-0000-0000-000000000000}"/>
          </ac:picMkLst>
        </pc:picChg>
        <pc:picChg chg="add del mod">
          <ac:chgData name="Bitschi Klaus" userId="be151f9e-4017-4512-bd12-7566c28afe2f" providerId="ADAL" clId="{E82091F1-98FB-416D-8C15-6657EA98CE27}" dt="2024-03-11T17:55:44.435" v="9938" actId="22"/>
          <ac:picMkLst>
            <pc:docMk/>
            <pc:sldMk cId="3507788170" sldId="745"/>
            <ac:picMk id="13" creationId="{93E86623-5665-BB62-74FE-DC401AD2E48F}"/>
          </ac:picMkLst>
        </pc:pic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3-11T07:57:04.107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53,'1283'0,"-1261"-1,0-1,25-6,9-2,-34 8,149-23,-150 2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3-11T07:57:07.985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41,'172'11,"-18"-1,552-9,-340-2,-239-10,-13 1,98-2,-156 10,-35 1,0 0,37-7,-39 1,-9-2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3-11T07:57:20.444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21,'12'0,"0"2,0 0,14 3,29 5,320-8,-192-4,435 2,-590 2,43 6,-42-3,39 1,-25-4,79 16,-82-10,1-3,50 2,37 3,2 0,-72-9,-38 0,1 0,-1-1,1-1,-1-1,0-1,0-1,20-6,-18 3,1 1,0 1,1 1,38-1,26-5,-58 6,52 0,-57 4,0-1,1-1,26-6,-9-1,-1 1,1 3,78-1,39-4,-4 0,1059 12,-669-3,-526 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4-03-11T07:29:22.719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4 82,'-3'2,"9"3,12 3,20-3,-1-2,1-1,48-5,-3 1,-59 2,16 1,0-2,-1-1,1-2,72-17,-83 14,1 3,0 0,0 2,-1 1,44 4,3-1,637-2,-675-1,42-8,-42 3,46 1,629 6,-693-2,0-1,23-5,36-3,546 8,-303 4,-300-3,43-8,17-1,635 8,-350 4,-348-2,-2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65BE96-2554-4AB8-9EE6-DF6729CEBFEC}" type="datetimeFigureOut">
              <a:rPr lang="de-AT" smtClean="0"/>
              <a:t>23.05.2024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832AD6-7DFF-44E0-AC7D-94901965E703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0960268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ADE2C7-A655-4B79-8F95-75EEB167FF86}" type="slidenum">
              <a:rPr lang="de-DE" smtClean="0"/>
              <a:pPr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4416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AT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Freie Wählerliste Brand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61E7-75E3-4B49-AA5E-A3BB8F7A0A29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604332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Freie Wählerliste Brand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61E7-75E3-4B49-AA5E-A3BB8F7A0A29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2517455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Freie Wählerliste Brand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61E7-75E3-4B49-AA5E-A3BB8F7A0A29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5492701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7S1P4_Bild+Le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36878" y="4772257"/>
            <a:ext cx="7720948" cy="19302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spcBef>
                <a:spcPts val="0"/>
              </a:spcBef>
              <a:buFontTx/>
              <a:buNone/>
              <a:defRPr sz="700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/>
              <a:t>Platzhalter für zweizeiligen Zusatztext bearbeiten</a:t>
            </a:r>
          </a:p>
        </p:txBody>
      </p:sp>
      <p:sp>
        <p:nvSpPr>
          <p:cNvPr id="11" name="Bildplatzhalter 4"/>
          <p:cNvSpPr>
            <a:spLocks noGrp="1"/>
          </p:cNvSpPr>
          <p:nvPr>
            <p:ph type="pic" sz="quarter" idx="11"/>
          </p:nvPr>
        </p:nvSpPr>
        <p:spPr>
          <a:xfrm>
            <a:off x="3" y="1"/>
            <a:ext cx="9144000" cy="4588046"/>
          </a:xfrm>
          <a:prstGeom prst="rect">
            <a:avLst/>
          </a:prstGeom>
        </p:spPr>
        <p:txBody>
          <a:bodyPr vert="horz" lIns="91404" tIns="45704" rIns="91404" bIns="45704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71183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\\Office3\71M_DesPrt\Design_Print\PROJEKTE\Projekte 2012\2580_12_Dachmarke_Austria\RZ\Logo\Logo_Austri_P7S1P4\Logo_Austria_P7S1P4_combi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0023" y="327092"/>
            <a:ext cx="1566947" cy="295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" name="Gerade Verbindung 2"/>
          <p:cNvCxnSpPr/>
          <p:nvPr userDrawn="1"/>
        </p:nvCxnSpPr>
        <p:spPr>
          <a:xfrm>
            <a:off x="1" y="4703573"/>
            <a:ext cx="2217759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92993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geseite_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221601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6" name="Objekt 4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04826" y="549623"/>
            <a:ext cx="6867525" cy="168172"/>
          </a:xfrm>
          <a:prstGeom prst="rect">
            <a:avLst/>
          </a:prstGeom>
        </p:spPr>
        <p:txBody>
          <a:bodyPr lIns="79845" tIns="39923" rIns="79845" bIns="39923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err="1"/>
              <a:t>Untertite</a:t>
            </a:r>
            <a:r>
              <a:rPr lang="en-GB"/>
              <a:t>l</a:t>
            </a:r>
            <a:endParaRPr lang="de-DE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04826" y="281555"/>
            <a:ext cx="6867525" cy="244274"/>
          </a:xfrm>
          <a:prstGeom prst="rect">
            <a:avLst/>
          </a:prstGeom>
        </p:spPr>
        <p:txBody>
          <a:bodyPr lIns="79845" tIns="39923" rIns="79845" bIns="39923"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88711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Folgeseite_P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894054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6" name="Objekt 4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811749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geseite_Sat.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299953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6" name="Objekt 4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04826" y="549623"/>
            <a:ext cx="6867525" cy="168172"/>
          </a:xfrm>
          <a:prstGeom prst="rect">
            <a:avLst/>
          </a:prstGeom>
        </p:spPr>
        <p:txBody>
          <a:bodyPr lIns="79845" tIns="39923" rIns="79845" bIns="39923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err="1"/>
              <a:t>Untertite</a:t>
            </a:r>
            <a:r>
              <a:rPr lang="en-GB"/>
              <a:t>l</a:t>
            </a:r>
            <a:endParaRPr lang="de-DE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75855" y="4482974"/>
            <a:ext cx="7875538" cy="335004"/>
          </a:xfrm>
          <a:prstGeom prst="rect">
            <a:avLst/>
          </a:prstGeom>
        </p:spPr>
        <p:txBody>
          <a:bodyPr lIns="79845" tIns="39923" rIns="79845" bIns="39923"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7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700"/>
            </a:lvl2pPr>
            <a:lvl3pPr>
              <a:lnSpc>
                <a:spcPct val="100000"/>
              </a:lnSpc>
              <a:defRPr sz="700"/>
            </a:lvl3pPr>
            <a:lvl4pPr>
              <a:lnSpc>
                <a:spcPct val="100000"/>
              </a:lnSpc>
              <a:defRPr sz="700"/>
            </a:lvl4pPr>
            <a:lvl5pPr>
              <a:lnSpc>
                <a:spcPct val="100000"/>
              </a:lnSpc>
              <a:defRPr sz="700"/>
            </a:lvl5pPr>
          </a:lstStyle>
          <a:p>
            <a:pPr lvl="0"/>
            <a:r>
              <a:rPr lang="de-DE"/>
              <a:t>Insgesamt max. 3 Zeilen</a:t>
            </a:r>
            <a:br>
              <a:rPr lang="de-DE"/>
            </a:br>
            <a:r>
              <a:rPr lang="de-DE"/>
              <a:t>* Fußnote</a:t>
            </a:r>
            <a:br>
              <a:rPr lang="de-DE"/>
            </a:br>
            <a:r>
              <a:rPr lang="de-DE"/>
              <a:t>Quelle: </a:t>
            </a:r>
            <a:endParaRPr lang="en-GB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04826" y="281555"/>
            <a:ext cx="6867525" cy="244274"/>
          </a:xfrm>
          <a:prstGeom prst="rect">
            <a:avLst/>
          </a:prstGeom>
        </p:spPr>
        <p:txBody>
          <a:bodyPr lIns="79845" tIns="39923" rIns="79845" bIns="39923"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20795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lgeseite_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909551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6" name="Objekt 4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platzhalter 1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04826" y="549623"/>
            <a:ext cx="6867525" cy="168172"/>
          </a:xfrm>
          <a:prstGeom prst="rect">
            <a:avLst/>
          </a:prstGeom>
        </p:spPr>
        <p:txBody>
          <a:bodyPr lIns="79845" tIns="39923" rIns="79845" bIns="39923"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de-DE" err="1"/>
              <a:t>Untertite</a:t>
            </a:r>
            <a:r>
              <a:rPr lang="en-GB"/>
              <a:t>l</a:t>
            </a:r>
            <a:endParaRPr lang="de-DE"/>
          </a:p>
        </p:txBody>
      </p:sp>
      <p:sp>
        <p:nvSpPr>
          <p:cNvPr id="20" name="Textplatzhalter 17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775855" y="4482974"/>
            <a:ext cx="7875538" cy="335004"/>
          </a:xfrm>
          <a:prstGeom prst="rect">
            <a:avLst/>
          </a:prstGeom>
        </p:spPr>
        <p:txBody>
          <a:bodyPr lIns="79845" tIns="39923" rIns="79845" bIns="39923" anchor="t" anchorCtr="0"/>
          <a:lstStyle>
            <a:lvl1pPr>
              <a:lnSpc>
                <a:spcPct val="100000"/>
              </a:lnSpc>
              <a:spcBef>
                <a:spcPts val="0"/>
              </a:spcBef>
              <a:defRPr sz="700" baseline="0">
                <a:solidFill>
                  <a:srgbClr val="8D8D8D"/>
                </a:solidFill>
              </a:defRPr>
            </a:lvl1pPr>
            <a:lvl2pPr>
              <a:lnSpc>
                <a:spcPct val="100000"/>
              </a:lnSpc>
              <a:defRPr sz="700"/>
            </a:lvl2pPr>
            <a:lvl3pPr>
              <a:lnSpc>
                <a:spcPct val="100000"/>
              </a:lnSpc>
              <a:defRPr sz="700"/>
            </a:lvl3pPr>
            <a:lvl4pPr>
              <a:lnSpc>
                <a:spcPct val="100000"/>
              </a:lnSpc>
              <a:defRPr sz="700"/>
            </a:lvl4pPr>
            <a:lvl5pPr>
              <a:lnSpc>
                <a:spcPct val="100000"/>
              </a:lnSpc>
              <a:defRPr sz="700"/>
            </a:lvl5pPr>
          </a:lstStyle>
          <a:p>
            <a:pPr lvl="0"/>
            <a:r>
              <a:rPr lang="de-DE"/>
              <a:t>Insgesamt max. 3 Zeilen</a:t>
            </a:r>
            <a:br>
              <a:rPr lang="de-DE"/>
            </a:br>
            <a:r>
              <a:rPr lang="de-DE"/>
              <a:t>* Fußnote</a:t>
            </a:r>
            <a:br>
              <a:rPr lang="de-DE"/>
            </a:br>
            <a:r>
              <a:rPr lang="de-DE"/>
              <a:t>Quelle: </a:t>
            </a:r>
            <a:endParaRPr lang="en-GB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504826" y="281555"/>
            <a:ext cx="6867525" cy="244274"/>
          </a:xfrm>
          <a:prstGeom prst="rect">
            <a:avLst/>
          </a:prstGeom>
        </p:spPr>
        <p:txBody>
          <a:bodyPr lIns="79845" tIns="39923" rIns="79845" bIns="39923"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64315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lgeseite_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509894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6" name="Objekt 4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3155243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Folgeseite_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184981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6" name="Objekt 4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58961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Freie Wählerliste Brand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61E7-75E3-4B49-AA5E-A3BB8F7A0A29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5677858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o Net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3"/>
          <p:cNvSpPr>
            <a:spLocks noGrp="1"/>
          </p:cNvSpPr>
          <p:nvPr>
            <p:ph type="title" hasCustomPrompt="1"/>
          </p:nvPr>
        </p:nvSpPr>
        <p:spPr>
          <a:xfrm>
            <a:off x="517343" y="272235"/>
            <a:ext cx="7770975" cy="322818"/>
          </a:xfrm>
          <a:prstGeom prst="rect">
            <a:avLst/>
          </a:prstGeom>
        </p:spPr>
        <p:txBody>
          <a:bodyPr lIns="79845" tIns="39923" rIns="79845" bIns="39923"/>
          <a:lstStyle>
            <a:lvl1pPr marL="0" marR="0" indent="0" algn="l" defTabSz="798454" rtl="0" eaLnBrk="0" fontAlgn="base" latinLnBrk="0" hangingPunct="1">
              <a:lnSpc>
                <a:spcPct val="100000"/>
              </a:lnSpc>
              <a:spcBef>
                <a:spcPts val="83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390910" algn="l"/>
                <a:tab pos="783206" algn="l"/>
                <a:tab pos="1175502" algn="l"/>
                <a:tab pos="1567798" algn="l"/>
                <a:tab pos="1960094" algn="l"/>
                <a:tab pos="2352390" algn="l"/>
                <a:tab pos="2744686" algn="l"/>
                <a:tab pos="3136982" algn="l"/>
                <a:tab pos="3529278" algn="l"/>
                <a:tab pos="3921574" algn="l"/>
                <a:tab pos="4313870" algn="l"/>
                <a:tab pos="4706166" algn="l"/>
                <a:tab pos="5098462" algn="l"/>
                <a:tab pos="5490758" algn="l"/>
                <a:tab pos="5883054" algn="l"/>
                <a:tab pos="6275350" algn="l"/>
                <a:tab pos="6667646" algn="l"/>
                <a:tab pos="7059943" algn="l"/>
                <a:tab pos="7452238" algn="l"/>
                <a:tab pos="7844535" algn="l"/>
              </a:tabLst>
              <a:defRPr sz="1500">
                <a:solidFill>
                  <a:srgbClr val="FF0000"/>
                </a:solidFill>
              </a:defRPr>
            </a:lvl1pPr>
          </a:lstStyle>
          <a:p>
            <a:pPr hangingPunct="1">
              <a:lnSpc>
                <a:spcPct val="100000"/>
              </a:lnSpc>
              <a:spcBef>
                <a:spcPts val="9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de-DE"/>
              <a:t>Titelmasterformat durch Klicken bearbeiten</a:t>
            </a:r>
            <a:br>
              <a:rPr lang="de-DE"/>
            </a:br>
            <a:r>
              <a:rPr lang="de-AT" sz="1100">
                <a:solidFill>
                  <a:srgbClr val="464646"/>
                </a:solidFill>
              </a:rPr>
              <a:t>Subheadline Arial 13 </a:t>
            </a:r>
            <a:r>
              <a:rPr lang="de-AT" sz="1100" err="1">
                <a:solidFill>
                  <a:srgbClr val="464646"/>
                </a:solidFill>
              </a:rPr>
              <a:t>pt</a:t>
            </a:r>
            <a:br>
              <a:rPr lang="de-AT" sz="1100">
                <a:solidFill>
                  <a:srgbClr val="464646"/>
                </a:solidFill>
              </a:rPr>
            </a:br>
            <a:endParaRPr lang="de-DE"/>
          </a:p>
        </p:txBody>
      </p:sp>
      <p:pic>
        <p:nvPicPr>
          <p:cNvPr id="4" name="Picture 7" descr="O:\02 Angebote\P7S1P4 neue CI Angebotsvorlage\Logoleisten\Logo_Austria_P7S1P4_Senderleiste_vn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170" y="4776254"/>
            <a:ext cx="1623800" cy="258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\\Office3\71M_DesPrt\Design_Print\PROJEKTE\Projekte 2012\2580_12_Dachmarke_Austria\RZ\Logo\Logo_Austri_P7S1P4\Logo_Austria_P7S1P4_combi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0023" y="327090"/>
            <a:ext cx="1566947" cy="295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Gerade Verbindung 6"/>
          <p:cNvCxnSpPr/>
          <p:nvPr userDrawn="1"/>
        </p:nvCxnSpPr>
        <p:spPr>
          <a:xfrm>
            <a:off x="1" y="4703573"/>
            <a:ext cx="2217759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34394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lg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3"/>
          <p:cNvSpPr>
            <a:spLocks noGrp="1"/>
          </p:cNvSpPr>
          <p:nvPr>
            <p:ph type="title" hasCustomPrompt="1"/>
          </p:nvPr>
        </p:nvSpPr>
        <p:spPr>
          <a:xfrm>
            <a:off x="517343" y="272235"/>
            <a:ext cx="7770975" cy="322818"/>
          </a:xfrm>
          <a:prstGeom prst="rect">
            <a:avLst/>
          </a:prstGeom>
        </p:spPr>
        <p:txBody>
          <a:bodyPr lIns="79845" tIns="39923" rIns="79845" bIns="39923"/>
          <a:lstStyle>
            <a:lvl1pPr marL="0" marR="0" indent="0" algn="l" defTabSz="798454" rtl="0" eaLnBrk="0" fontAlgn="base" latinLnBrk="0" hangingPunct="1">
              <a:lnSpc>
                <a:spcPct val="100000"/>
              </a:lnSpc>
              <a:spcBef>
                <a:spcPts val="83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390910" algn="l"/>
                <a:tab pos="783206" algn="l"/>
                <a:tab pos="1175502" algn="l"/>
                <a:tab pos="1567798" algn="l"/>
                <a:tab pos="1960094" algn="l"/>
                <a:tab pos="2352390" algn="l"/>
                <a:tab pos="2744686" algn="l"/>
                <a:tab pos="3136982" algn="l"/>
                <a:tab pos="3529278" algn="l"/>
                <a:tab pos="3921574" algn="l"/>
                <a:tab pos="4313870" algn="l"/>
                <a:tab pos="4706166" algn="l"/>
                <a:tab pos="5098462" algn="l"/>
                <a:tab pos="5490758" algn="l"/>
                <a:tab pos="5883054" algn="l"/>
                <a:tab pos="6275350" algn="l"/>
                <a:tab pos="6667646" algn="l"/>
                <a:tab pos="7059943" algn="l"/>
                <a:tab pos="7452238" algn="l"/>
                <a:tab pos="7844535" algn="l"/>
              </a:tabLst>
              <a:defRPr sz="1500">
                <a:solidFill>
                  <a:srgbClr val="FF0000"/>
                </a:solidFill>
              </a:defRPr>
            </a:lvl1pPr>
          </a:lstStyle>
          <a:p>
            <a:pPr hangingPunct="1">
              <a:lnSpc>
                <a:spcPct val="100000"/>
              </a:lnSpc>
              <a:spcBef>
                <a:spcPts val="950"/>
              </a:spcBef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de-DE"/>
              <a:t>Titelmasterformat durch Klicken bearbeiten</a:t>
            </a:r>
            <a:br>
              <a:rPr lang="de-DE"/>
            </a:br>
            <a:r>
              <a:rPr lang="de-AT" sz="1100">
                <a:solidFill>
                  <a:srgbClr val="464646"/>
                </a:solidFill>
              </a:rPr>
              <a:t>Subheadline Arial 13 </a:t>
            </a:r>
            <a:r>
              <a:rPr lang="de-AT" sz="1100" err="1">
                <a:solidFill>
                  <a:srgbClr val="464646"/>
                </a:solidFill>
              </a:rPr>
              <a:t>pt</a:t>
            </a:r>
            <a:br>
              <a:rPr lang="de-AT" sz="1100">
                <a:solidFill>
                  <a:srgbClr val="464646"/>
                </a:solidFill>
              </a:rPr>
            </a:b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07328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3"/>
          <p:cNvSpPr>
            <a:spLocks noGrp="1"/>
          </p:cNvSpPr>
          <p:nvPr>
            <p:ph type="title"/>
          </p:nvPr>
        </p:nvSpPr>
        <p:spPr>
          <a:xfrm>
            <a:off x="517343" y="272235"/>
            <a:ext cx="7770975" cy="322818"/>
          </a:xfrm>
          <a:prstGeom prst="rect">
            <a:avLst/>
          </a:prstGeom>
        </p:spPr>
        <p:txBody>
          <a:bodyPr lIns="79845" tIns="39923" rIns="79845" bIns="39923"/>
          <a:lstStyle/>
          <a:p>
            <a:r>
              <a:rPr lang="de-DE"/>
              <a:t>Titelmasterformat durch Klicken bearbeiten</a:t>
            </a:r>
          </a:p>
        </p:txBody>
      </p:sp>
      <p:pic>
        <p:nvPicPr>
          <p:cNvPr id="5" name="Picture 2" descr="\\Office3\71M_DesPrt\Design_Print\PROJEKTE\Projekte 2012\2580_12_Dachmarke_Austria\RZ\Logo\Logo_Austri_P7S1P4\Logo_Austria_P7S1P4_combi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0023" y="327090"/>
            <a:ext cx="1566947" cy="295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Gerade Verbindung 5"/>
          <p:cNvCxnSpPr/>
          <p:nvPr userDrawn="1"/>
        </p:nvCxnSpPr>
        <p:spPr>
          <a:xfrm>
            <a:off x="1" y="4703573"/>
            <a:ext cx="2217759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6"/>
          <p:cNvSpPr>
            <a:spLocks noChangeArrowheads="1"/>
          </p:cNvSpPr>
          <p:nvPr userDrawn="1"/>
        </p:nvSpPr>
        <p:spPr bwMode="auto">
          <a:xfrm>
            <a:off x="5476702" y="3305941"/>
            <a:ext cx="3680129" cy="377505"/>
          </a:xfrm>
          <a:prstGeom prst="rect">
            <a:avLst/>
          </a:prstGeom>
          <a:solidFill>
            <a:srgbClr val="BFBFB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79845" tIns="39923" rIns="79845" bIns="39923" anchor="ctr"/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endParaRPr lang="de-AT" sz="1000">
              <a:solidFill>
                <a:srgbClr val="464646"/>
              </a:solidFill>
            </a:endParaRPr>
          </a:p>
        </p:txBody>
      </p:sp>
      <p:sp>
        <p:nvSpPr>
          <p:cNvPr id="13" name="Titel 3"/>
          <p:cNvSpPr txBox="1">
            <a:spLocks/>
          </p:cNvSpPr>
          <p:nvPr userDrawn="1"/>
        </p:nvSpPr>
        <p:spPr>
          <a:xfrm>
            <a:off x="5073535" y="2841973"/>
            <a:ext cx="4083296" cy="322818"/>
          </a:xfrm>
          <a:prstGeom prst="rect">
            <a:avLst/>
          </a:prstGeom>
        </p:spPr>
        <p:txBody>
          <a:bodyPr lIns="79845" tIns="39923" rIns="79845" bIns="39923"/>
          <a:lstStyle>
            <a:lvl1pPr marL="0" marR="0" indent="0" algn="l" defTabSz="914400" rtl="0" eaLnBrk="0" fontAlgn="base" latinLnBrk="0" hangingPunct="1">
              <a:lnSpc>
                <a:spcPct val="100000"/>
              </a:lnSpc>
              <a:spcBef>
                <a:spcPts val="9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8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464646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464646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464646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464646"/>
                </a:solidFill>
                <a:latin typeface="Arial" charset="0"/>
                <a:cs typeface="Arial" charset="0"/>
              </a:defRPr>
            </a:lvl5pPr>
            <a:lvl6pPr marL="457155"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464646"/>
                </a:solidFill>
                <a:latin typeface="Arial" charset="0"/>
                <a:cs typeface="Arial" charset="0"/>
              </a:defRPr>
            </a:lvl6pPr>
            <a:lvl7pPr marL="914310"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464646"/>
                </a:solidFill>
                <a:latin typeface="Arial" charset="0"/>
                <a:cs typeface="Arial" charset="0"/>
              </a:defRPr>
            </a:lvl7pPr>
            <a:lvl8pPr marL="1371465"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464646"/>
                </a:solidFill>
                <a:latin typeface="Arial" charset="0"/>
                <a:cs typeface="Arial" charset="0"/>
              </a:defRPr>
            </a:lvl8pPr>
            <a:lvl9pPr marL="1828619"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464646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sz="2100" cap="all">
                <a:solidFill>
                  <a:srgbClr val="FFFFFF"/>
                </a:solidFill>
              </a:rPr>
              <a:t>Titelmasterformat durch Klicken bearbeiten</a:t>
            </a:r>
          </a:p>
        </p:txBody>
      </p:sp>
      <p:sp>
        <p:nvSpPr>
          <p:cNvPr id="15" name="Titel 3"/>
          <p:cNvSpPr txBox="1">
            <a:spLocks/>
          </p:cNvSpPr>
          <p:nvPr userDrawn="1"/>
        </p:nvSpPr>
        <p:spPr>
          <a:xfrm>
            <a:off x="5476702" y="3318711"/>
            <a:ext cx="5485015" cy="322818"/>
          </a:xfrm>
          <a:prstGeom prst="rect">
            <a:avLst/>
          </a:prstGeom>
        </p:spPr>
        <p:txBody>
          <a:bodyPr lIns="79845" tIns="39923" rIns="79845" bIns="39923"/>
          <a:lstStyle>
            <a:lvl1pPr marL="0" marR="0" indent="0" algn="l" defTabSz="914400" rtl="0" eaLnBrk="0" fontAlgn="base" latinLnBrk="0" hangingPunct="1">
              <a:lnSpc>
                <a:spcPct val="100000"/>
              </a:lnSpc>
              <a:spcBef>
                <a:spcPts val="950"/>
              </a:spcBef>
              <a:spcAft>
                <a:spcPct val="0"/>
              </a:spcAft>
              <a:buClrTx/>
              <a:buSz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800" b="1">
                <a:solidFill>
                  <a:srgbClr val="FF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464646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464646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464646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464646"/>
                </a:solidFill>
                <a:latin typeface="Arial" charset="0"/>
                <a:cs typeface="Arial" charset="0"/>
              </a:defRPr>
            </a:lvl5pPr>
            <a:lvl6pPr marL="457155"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464646"/>
                </a:solidFill>
                <a:latin typeface="Arial" charset="0"/>
                <a:cs typeface="Arial" charset="0"/>
              </a:defRPr>
            </a:lvl6pPr>
            <a:lvl7pPr marL="914310"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464646"/>
                </a:solidFill>
                <a:latin typeface="Arial" charset="0"/>
                <a:cs typeface="Arial" charset="0"/>
              </a:defRPr>
            </a:lvl7pPr>
            <a:lvl8pPr marL="1371465"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464646"/>
                </a:solidFill>
                <a:latin typeface="Arial" charset="0"/>
                <a:cs typeface="Arial" charset="0"/>
              </a:defRPr>
            </a:lvl8pPr>
            <a:lvl9pPr marL="1828619" algn="l" rtl="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rgbClr val="464646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sz="1600" b="0">
                <a:solidFill>
                  <a:srgbClr val="FFFFFF"/>
                </a:solidFill>
              </a:rPr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563150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Folgeseite_P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kt 4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063287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6" name="Objekt 4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320016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4827" y="281556"/>
            <a:ext cx="6867525" cy="235441"/>
          </a:xfrm>
          <a:prstGeom prst="rect">
            <a:avLst/>
          </a:prstGeom>
        </p:spPr>
        <p:txBody>
          <a:bodyPr lIns="79845" tIns="39923" rIns="79845" bIns="39923"/>
          <a:lstStyle/>
          <a:p>
            <a:r>
              <a:rPr lang="en-US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85715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AT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9742FC3-F53E-4DDF-A5B5-5104DFAD79AC}" type="datetime1">
              <a:rPr lang="de-AT"/>
              <a:pPr>
                <a:defRPr/>
              </a:pPr>
              <a:t>23.05.2024</a:t>
            </a:fld>
            <a:endParaRPr lang="de-AT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AT">
                <a:solidFill>
                  <a:prstClr val="black">
                    <a:tint val="75000"/>
                  </a:prstClr>
                </a:solidFill>
              </a:rPr>
              <a:t>Fußzei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310C12-5B72-4070-A538-E458E3E27FA5}" type="slidenum">
              <a:rPr lang="de-AT"/>
              <a:pPr>
                <a:defRPr/>
              </a:pPr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23216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 advClick="0" advTm="10000">
        <p:circle/>
      </p:transition>
    </mc:Choice>
    <mc:Fallback xmlns="">
      <p:transition spd="slow" advClick="0" advTm="10000">
        <p:circl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892CB3-1B4E-40DD-BE80-75A638813163}" type="datetime1">
              <a:rPr lang="de-AT"/>
              <a:pPr>
                <a:defRPr/>
              </a:pPr>
              <a:t>23.05.2024</a:t>
            </a:fld>
            <a:endParaRPr lang="de-AT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Fußzei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4A8987-7C85-4E39-B9F7-1BA178E43096}" type="slidenum">
              <a:rPr lang="de-AT"/>
              <a:pPr>
                <a:defRPr/>
              </a:pPr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309159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 advClick="0" advTm="10000">
        <p:circle/>
      </p:transition>
    </mc:Choice>
    <mc:Fallback xmlns="">
      <p:transition spd="slow" advClick="0" advTm="10000">
        <p:circl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00214F-B88B-4FD2-9136-9FB1576AEC70}" type="datetime1">
              <a:rPr lang="de-AT"/>
              <a:pPr>
                <a:defRPr/>
              </a:pPr>
              <a:t>23.05.2024</a:t>
            </a:fld>
            <a:endParaRPr lang="de-AT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AT">
                <a:solidFill>
                  <a:prstClr val="black">
                    <a:tint val="75000"/>
                  </a:prstClr>
                </a:solidFill>
              </a:rPr>
              <a:t>Fußzei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5EC34C-2EC4-4EAF-B30C-A762BB5FC77F}" type="slidenum">
              <a:rPr lang="de-AT"/>
              <a:pPr>
                <a:defRPr/>
              </a:pPr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303338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 advClick="0" advTm="10000">
        <p:circle/>
      </p:transition>
    </mc:Choice>
    <mc:Fallback xmlns="">
      <p:transition spd="slow" advClick="0" advTm="10000">
        <p:circl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416081-D126-4CE8-B5E7-295190F2BDA6}" type="datetime1">
              <a:rPr lang="de-AT"/>
              <a:pPr>
                <a:defRPr/>
              </a:pPr>
              <a:t>23.05.2024</a:t>
            </a:fld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AT">
                <a:solidFill>
                  <a:prstClr val="black">
                    <a:tint val="75000"/>
                  </a:prstClr>
                </a:solidFill>
              </a:rPr>
              <a:t>Fußzeil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E8102B-EFB6-4A94-BD7D-C8814387CFFF}" type="slidenum">
              <a:rPr lang="de-AT"/>
              <a:pPr>
                <a:defRPr/>
              </a:pPr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854295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 advClick="0" advTm="10000">
        <p:circle/>
      </p:transition>
    </mc:Choice>
    <mc:Fallback xmlns="">
      <p:transition spd="slow" advClick="0" advTm="10000">
        <p:circl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D7A0AD-B83B-4622-873D-2F4FB771A815}" type="datetime1">
              <a:rPr lang="de-AT"/>
              <a:pPr>
                <a:defRPr/>
              </a:pPr>
              <a:t>23.05.2024</a:t>
            </a:fld>
            <a:endParaRPr lang="de-AT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Fußzeile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5C94F3-73D6-4651-A351-96C19262F6E3}" type="slidenum">
              <a:rPr lang="de-AT"/>
              <a:pPr>
                <a:defRPr/>
              </a:pPr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68053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 advClick="0" advTm="10000">
        <p:circle/>
      </p:transition>
    </mc:Choice>
    <mc:Fallback xmlns="">
      <p:transition spd="slow" advClick="0" advTm="10000">
        <p:circl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Freie Wählerliste Brand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61E7-75E3-4B49-AA5E-A3BB8F7A0A29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7199193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E27698-C6D3-4687-8D43-E27C7AAF4BA9}" type="datetime1">
              <a:rPr lang="de-AT"/>
              <a:pPr>
                <a:defRPr/>
              </a:pPr>
              <a:t>23.05.2024</a:t>
            </a:fld>
            <a:endParaRPr lang="de-AT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AT">
                <a:solidFill>
                  <a:prstClr val="black">
                    <a:tint val="75000"/>
                  </a:prstClr>
                </a:solidFill>
              </a:rPr>
              <a:t>Fußzeil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F2F132-25BF-4F97-8C50-51D6E1443C61}" type="slidenum">
              <a:rPr lang="de-AT"/>
              <a:pPr>
                <a:defRPr/>
              </a:pPr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558596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 advClick="0" advTm="10000">
        <p:circle/>
      </p:transition>
    </mc:Choice>
    <mc:Fallback xmlns="">
      <p:transition spd="slow" advClick="0" advTm="10000">
        <p:circl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CF43AF-448E-4245-99DE-99A558DA2727}" type="datetime1">
              <a:rPr lang="de-AT"/>
              <a:pPr>
                <a:defRPr/>
              </a:pPr>
              <a:t>23.05.2024</a:t>
            </a:fld>
            <a:endParaRPr lang="de-AT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AT">
                <a:solidFill>
                  <a:prstClr val="black">
                    <a:tint val="75000"/>
                  </a:prstClr>
                </a:solidFill>
              </a:rPr>
              <a:t>Fußzei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851F5D-16AC-47B2-906B-CBA1D604F47C}" type="slidenum">
              <a:rPr lang="de-AT"/>
              <a:pPr>
                <a:defRPr/>
              </a:pPr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632499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 advClick="0" advTm="10000">
        <p:circle/>
      </p:transition>
    </mc:Choice>
    <mc:Fallback xmlns="">
      <p:transition spd="slow" advClick="0" advTm="10000">
        <p:circl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0932C9-C6DA-43AC-89D0-B6703F4C2897}" type="datetime1">
              <a:rPr lang="de-AT"/>
              <a:pPr>
                <a:defRPr/>
              </a:pPr>
              <a:t>23.05.2024</a:t>
            </a:fld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AT">
                <a:solidFill>
                  <a:prstClr val="black">
                    <a:tint val="75000"/>
                  </a:prstClr>
                </a:solidFill>
              </a:rPr>
              <a:t>Fußzeil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2DC602-C5CC-4FC5-8562-BD7F4564E046}" type="slidenum">
              <a:rPr lang="de-AT"/>
              <a:pPr>
                <a:defRPr/>
              </a:pPr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948077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 advClick="0" advTm="10000">
        <p:circle/>
      </p:transition>
    </mc:Choice>
    <mc:Fallback xmlns="">
      <p:transition spd="slow" advClick="0" advTm="10000">
        <p:circl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de-AT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02AFA5-2D04-4D0E-B15B-73D037CC51F9}" type="datetime1">
              <a:rPr lang="de-AT"/>
              <a:pPr>
                <a:defRPr/>
              </a:pPr>
              <a:t>23.05.2024</a:t>
            </a:fld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AT">
                <a:solidFill>
                  <a:prstClr val="black">
                    <a:tint val="75000"/>
                  </a:prstClr>
                </a:solidFill>
              </a:rPr>
              <a:t>Fußzeil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2C00AA-727A-4A8F-9841-4A226A950C62}" type="slidenum">
              <a:rPr lang="de-AT"/>
              <a:pPr>
                <a:defRPr/>
              </a:pPr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494027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 advClick="0" advTm="10000">
        <p:circle/>
      </p:transition>
    </mc:Choice>
    <mc:Fallback xmlns="">
      <p:transition spd="slow" advClick="0" advTm="10000">
        <p:circl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73249A-393A-4DAF-AD24-328951392BE7}" type="datetime1">
              <a:rPr lang="de-AT"/>
              <a:pPr>
                <a:defRPr/>
              </a:pPr>
              <a:t>23.05.2024</a:t>
            </a:fld>
            <a:endParaRPr lang="de-AT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AT">
                <a:solidFill>
                  <a:prstClr val="black">
                    <a:tint val="75000"/>
                  </a:prstClr>
                </a:solidFill>
              </a:rPr>
              <a:t>Fußzei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17F23D-1CB3-4266-8BEA-24EFEE72E9A3}" type="slidenum">
              <a:rPr lang="de-AT"/>
              <a:pPr>
                <a:defRPr/>
              </a:pPr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01955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 advClick="0" advTm="10000">
        <p:circle/>
      </p:transition>
    </mc:Choice>
    <mc:Fallback xmlns="">
      <p:transition spd="slow" advClick="0" advTm="10000">
        <p:circl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  <a:prstGeom prst="rect">
            <a:avLst/>
          </a:prstGeo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E756BC-9BEB-4EC6-804D-E945899627D8}" type="datetime1">
              <a:rPr lang="de-AT"/>
              <a:pPr>
                <a:defRPr/>
              </a:pPr>
              <a:t>23.05.2024</a:t>
            </a:fld>
            <a:endParaRPr lang="de-AT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AT">
                <a:solidFill>
                  <a:prstClr val="black">
                    <a:tint val="75000"/>
                  </a:prstClr>
                </a:solidFill>
              </a:rPr>
              <a:t>Fußzeil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00C5D6-44BC-4908-B3EA-45350B610F0E}" type="slidenum">
              <a:rPr lang="de-AT"/>
              <a:pPr>
                <a:defRPr/>
              </a:pPr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87618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 advClick="0" advTm="10000">
        <p:circle/>
      </p:transition>
    </mc:Choice>
    <mc:Fallback xmlns="">
      <p:transition spd="slow" advClick="0" advTm="10000">
        <p:circl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Freie Wählerliste Brand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61E7-75E3-4B49-AA5E-A3BB8F7A0A29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271074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Freie Wählerliste Brand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61E7-75E3-4B49-AA5E-A3BB8F7A0A29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8780438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Freie Wählerliste Brand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61E7-75E3-4B49-AA5E-A3BB8F7A0A29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74547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Freie Wählerliste Brand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61E7-75E3-4B49-AA5E-A3BB8F7A0A29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7362615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Freie Wählerliste Brand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61E7-75E3-4B49-AA5E-A3BB8F7A0A29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3525008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AT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Freie Wählerliste Brand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61E7-75E3-4B49-AA5E-A3BB8F7A0A29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751392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AT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AT"/>
              <a:t>Freie Wählerliste Brand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0E61E7-75E3-4B49-AA5E-A3BB8F7A0A29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452230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fik 20" descr="Head.png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10" r="13804" b="20387"/>
          <a:stretch/>
        </p:blipFill>
        <p:spPr bwMode="auto">
          <a:xfrm>
            <a:off x="1168596" y="0"/>
            <a:ext cx="7975404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Gerade Verbindung 6"/>
          <p:cNvCxnSpPr/>
          <p:nvPr/>
        </p:nvCxnSpPr>
        <p:spPr>
          <a:xfrm>
            <a:off x="1" y="4703573"/>
            <a:ext cx="2217759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\\Office3\71M_DesPrt\Design_Print\PROJEKTE\Projekte 2012\2580_12_Dachmarke_Austria\RZ\Logo\Logo_Austri_P7S1P4\Logo_Austria_P7S1P4_combi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0023" y="327089"/>
            <a:ext cx="1566947" cy="295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5282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3" r:id="rId11"/>
    <p:sldLayoutId id="2147483674" r:id="rId12"/>
  </p:sldLayoutIdLst>
  <p:hf sldNum="0"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464646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464646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464646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464646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464646"/>
          </a:solidFill>
          <a:latin typeface="Arial" charset="0"/>
          <a:cs typeface="Arial" charset="0"/>
        </a:defRPr>
      </a:lvl5pPr>
      <a:lvl6pPr marL="399188" algn="l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464646"/>
          </a:solidFill>
          <a:latin typeface="Arial" charset="0"/>
          <a:cs typeface="Arial" charset="0"/>
        </a:defRPr>
      </a:lvl6pPr>
      <a:lvl7pPr marL="798375" algn="l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464646"/>
          </a:solidFill>
          <a:latin typeface="Arial" charset="0"/>
          <a:cs typeface="Arial" charset="0"/>
        </a:defRPr>
      </a:lvl7pPr>
      <a:lvl8pPr marL="1197563" algn="l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464646"/>
          </a:solidFill>
          <a:latin typeface="Arial" charset="0"/>
          <a:cs typeface="Arial" charset="0"/>
        </a:defRPr>
      </a:lvl8pPr>
      <a:lvl9pPr marL="1596750" algn="l" rtl="0" eaLnBrk="0" fontAlgn="base" hangingPunct="0">
        <a:spcBef>
          <a:spcPct val="0"/>
        </a:spcBef>
        <a:spcAft>
          <a:spcPct val="0"/>
        </a:spcAft>
        <a:defRPr sz="1500" b="1">
          <a:solidFill>
            <a:srgbClr val="464646"/>
          </a:solidFill>
          <a:latin typeface="Arial" charset="0"/>
          <a:cs typeface="Arial" charset="0"/>
        </a:defRPr>
      </a:lvl9pPr>
    </p:titleStyle>
    <p:bodyStyle>
      <a:lvl1pPr marL="237018" indent="-237018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Char char="•"/>
        <a:defRPr sz="1100">
          <a:solidFill>
            <a:srgbClr val="464646"/>
          </a:solidFill>
          <a:latin typeface="+mn-lt"/>
          <a:ea typeface="+mn-ea"/>
          <a:cs typeface="+mn-cs"/>
        </a:defRPr>
      </a:lvl1pPr>
      <a:lvl2pPr marL="474035" indent="-235632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Char char="•"/>
        <a:defRPr sz="1100">
          <a:solidFill>
            <a:srgbClr val="464646"/>
          </a:solidFill>
          <a:latin typeface="+mn-lt"/>
          <a:cs typeface="+mn-cs"/>
        </a:defRPr>
      </a:lvl2pPr>
      <a:lvl3pPr marL="711054" indent="-235632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Char char="•"/>
        <a:defRPr sz="1100">
          <a:solidFill>
            <a:srgbClr val="464646"/>
          </a:solidFill>
          <a:latin typeface="+mn-lt"/>
          <a:cs typeface="+mn-cs"/>
        </a:defRPr>
      </a:lvl3pPr>
      <a:lvl4pPr marL="938369" indent="-225930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Char char="•"/>
        <a:defRPr sz="1100">
          <a:solidFill>
            <a:srgbClr val="464646"/>
          </a:solidFill>
          <a:latin typeface="+mn-lt"/>
          <a:cs typeface="+mn-cs"/>
        </a:defRPr>
      </a:lvl4pPr>
      <a:lvl5pPr marL="1175386" indent="-235632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Char char="•"/>
        <a:defRPr sz="1100">
          <a:solidFill>
            <a:srgbClr val="464646"/>
          </a:solidFill>
          <a:latin typeface="+mn-lt"/>
          <a:cs typeface="+mn-cs"/>
        </a:defRPr>
      </a:lvl5pPr>
      <a:lvl6pPr marL="1574573" indent="-235632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Char char="•"/>
        <a:defRPr sz="1100">
          <a:solidFill>
            <a:srgbClr val="464646"/>
          </a:solidFill>
          <a:latin typeface="+mn-lt"/>
          <a:cs typeface="+mn-cs"/>
        </a:defRPr>
      </a:lvl6pPr>
      <a:lvl7pPr marL="1973761" indent="-235632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Char char="•"/>
        <a:defRPr sz="1100">
          <a:solidFill>
            <a:srgbClr val="464646"/>
          </a:solidFill>
          <a:latin typeface="+mn-lt"/>
          <a:cs typeface="+mn-cs"/>
        </a:defRPr>
      </a:lvl7pPr>
      <a:lvl8pPr marL="2372949" indent="-235632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Char char="•"/>
        <a:defRPr sz="1100">
          <a:solidFill>
            <a:srgbClr val="464646"/>
          </a:solidFill>
          <a:latin typeface="+mn-lt"/>
          <a:cs typeface="+mn-cs"/>
        </a:defRPr>
      </a:lvl8pPr>
      <a:lvl9pPr marL="2772137" indent="-235632" algn="l" rtl="0" eaLnBrk="0" fontAlgn="base" hangingPunct="0">
        <a:spcBef>
          <a:spcPct val="40000"/>
        </a:spcBef>
        <a:spcAft>
          <a:spcPct val="0"/>
        </a:spcAft>
        <a:buClr>
          <a:schemeClr val="accent2"/>
        </a:buClr>
        <a:buChar char="•"/>
        <a:defRPr sz="1100">
          <a:solidFill>
            <a:srgbClr val="464646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7983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99188" algn="l" defTabSz="7983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98375" algn="l" defTabSz="7983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197563" algn="l" defTabSz="7983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96750" algn="l" defTabSz="7983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95938" algn="l" defTabSz="7983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95126" algn="l" defTabSz="7983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794313" algn="l" defTabSz="7983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193501" algn="l" defTabSz="798375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/>
          <p:nvPr userDrawn="1"/>
        </p:nvSpPr>
        <p:spPr>
          <a:xfrm>
            <a:off x="0" y="0"/>
            <a:ext cx="9144000" cy="985838"/>
          </a:xfrm>
          <a:prstGeom prst="rect">
            <a:avLst/>
          </a:prstGeom>
          <a:solidFill>
            <a:srgbClr val="A9C3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350">
              <a:solidFill>
                <a:srgbClr val="ED1C24"/>
              </a:solidFill>
            </a:endParaRPr>
          </a:p>
        </p:txBody>
      </p:sp>
      <p:grpSp>
        <p:nvGrpSpPr>
          <p:cNvPr id="2051" name="Group 25"/>
          <p:cNvGrpSpPr>
            <a:grpSpLocks/>
          </p:cNvGrpSpPr>
          <p:nvPr userDrawn="1"/>
        </p:nvGrpSpPr>
        <p:grpSpPr bwMode="auto">
          <a:xfrm>
            <a:off x="0" y="-4762"/>
            <a:ext cx="3448050" cy="1108472"/>
            <a:chOff x="0" y="-6349"/>
            <a:chExt cx="4582117" cy="1964035"/>
          </a:xfrm>
        </p:grpSpPr>
        <p:sp>
          <p:nvSpPr>
            <p:cNvPr id="9" name="Freeform 12"/>
            <p:cNvSpPr/>
            <p:nvPr userDrawn="1"/>
          </p:nvSpPr>
          <p:spPr>
            <a:xfrm>
              <a:off x="1179646" y="1023048"/>
              <a:ext cx="1039692" cy="934638"/>
            </a:xfrm>
            <a:custGeom>
              <a:avLst/>
              <a:gdLst>
                <a:gd name="connsiteX0" fmla="*/ 0 w 1039692"/>
                <a:gd name="connsiteY0" fmla="*/ 361070 h 1145464"/>
                <a:gd name="connsiteX1" fmla="*/ 1039692 w 1039692"/>
                <a:gd name="connsiteY1" fmla="*/ 1145464 h 1145464"/>
                <a:gd name="connsiteX2" fmla="*/ 753310 w 1039692"/>
                <a:gd name="connsiteY2" fmla="*/ 0 h 1145464"/>
                <a:gd name="connsiteX3" fmla="*/ 0 w 1039692"/>
                <a:gd name="connsiteY3" fmla="*/ 361070 h 114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9692" h="1145464">
                  <a:moveTo>
                    <a:pt x="0" y="361070"/>
                  </a:moveTo>
                  <a:lnTo>
                    <a:pt x="1039692" y="1145464"/>
                  </a:lnTo>
                  <a:lnTo>
                    <a:pt x="753310" y="0"/>
                  </a:lnTo>
                  <a:lnTo>
                    <a:pt x="0" y="361070"/>
                  </a:lnTo>
                  <a:close/>
                </a:path>
              </a:pathLst>
            </a:custGeom>
            <a:gradFill>
              <a:gsLst>
                <a:gs pos="29000">
                  <a:schemeClr val="tx1">
                    <a:alpha val="40000"/>
                  </a:schemeClr>
                </a:gs>
                <a:gs pos="54000">
                  <a:schemeClr val="bg1">
                    <a:lumMod val="50000"/>
                    <a:alpha val="0"/>
                  </a:schemeClr>
                </a:gs>
              </a:gsLst>
              <a:lin ang="20280000" scaled="0"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white"/>
                </a:solidFill>
              </a:endParaRPr>
            </a:p>
          </p:txBody>
        </p:sp>
        <p:sp>
          <p:nvSpPr>
            <p:cNvPr id="10" name="Freeform 13"/>
            <p:cNvSpPr/>
            <p:nvPr userDrawn="1"/>
          </p:nvSpPr>
          <p:spPr>
            <a:xfrm>
              <a:off x="0" y="-6349"/>
              <a:ext cx="4582117" cy="1324827"/>
            </a:xfrm>
            <a:custGeom>
              <a:avLst/>
              <a:gdLst>
                <a:gd name="connsiteX0" fmla="*/ 0 w 4582117"/>
                <a:gd name="connsiteY0" fmla="*/ 796844 h 1624816"/>
                <a:gd name="connsiteX1" fmla="*/ 0 w 4582117"/>
                <a:gd name="connsiteY1" fmla="*/ 0 h 1624816"/>
                <a:gd name="connsiteX2" fmla="*/ 4582117 w 4582117"/>
                <a:gd name="connsiteY2" fmla="*/ 6225 h 1624816"/>
                <a:gd name="connsiteX3" fmla="*/ 1182884 w 4582117"/>
                <a:gd name="connsiteY3" fmla="*/ 1624816 h 1624816"/>
                <a:gd name="connsiteX4" fmla="*/ 0 w 4582117"/>
                <a:gd name="connsiteY4" fmla="*/ 796844 h 1624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82117" h="1624816">
                  <a:moveTo>
                    <a:pt x="0" y="796844"/>
                  </a:moveTo>
                  <a:lnTo>
                    <a:pt x="0" y="0"/>
                  </a:lnTo>
                  <a:lnTo>
                    <a:pt x="4582117" y="6225"/>
                  </a:lnTo>
                  <a:lnTo>
                    <a:pt x="1182884" y="1624816"/>
                  </a:lnTo>
                  <a:lnTo>
                    <a:pt x="0" y="7968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50">
                <a:solidFill>
                  <a:prstClr val="white"/>
                </a:solidFill>
              </a:endParaRPr>
            </a:p>
          </p:txBody>
        </p:sp>
      </p:grp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48967"/>
            <a:ext cx="8229600" cy="3345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AT" altLang="de-DE"/>
              <a:t>Click to edit Master text styles</a:t>
            </a:r>
          </a:p>
          <a:p>
            <a:pPr lvl="1"/>
            <a:r>
              <a:rPr lang="de-AT" altLang="de-DE"/>
              <a:t>Second level</a:t>
            </a:r>
          </a:p>
          <a:p>
            <a:pPr lvl="2"/>
            <a:r>
              <a:rPr lang="de-AT" altLang="de-DE"/>
              <a:t>Third level</a:t>
            </a:r>
          </a:p>
          <a:p>
            <a:pPr lvl="3"/>
            <a:r>
              <a:rPr lang="de-AT" altLang="de-DE"/>
              <a:t>Fourth level</a:t>
            </a:r>
          </a:p>
          <a:p>
            <a:pPr lvl="4"/>
            <a:r>
              <a:rPr lang="de-AT" altLang="de-DE"/>
              <a:t>Fifth level</a:t>
            </a:r>
            <a:endParaRPr lang="en-US" alt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900" dirty="0">
                <a:solidFill>
                  <a:srgbClr val="898989"/>
                </a:solidFill>
                <a:ea typeface="Geneva" pitchFamily="122" charset="-128"/>
                <a:cs typeface="+mn-cs"/>
              </a:defRPr>
            </a:lvl1pPr>
          </a:lstStyle>
          <a:p>
            <a:pPr>
              <a:defRPr/>
            </a:pPr>
            <a:endParaRPr lang="en-US" altLang="de-DE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90800" y="4767263"/>
            <a:ext cx="3962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900" dirty="0" err="1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Auszeichnung familieplus Gemeinden am 9. Juli 2014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rgbClr val="898989"/>
                </a:solidFill>
                <a:ea typeface="Geneva" pitchFamily="122" charset="-128"/>
                <a:cs typeface="+mn-cs"/>
              </a:defRPr>
            </a:lvl1pPr>
          </a:lstStyle>
          <a:p>
            <a:pPr>
              <a:defRPr/>
            </a:pPr>
            <a:fld id="{752CBABC-738E-4362-B30D-60048390AFF4}" type="slidenum">
              <a:rPr lang="en-US" altLang="de-DE"/>
              <a:pPr>
                <a:defRPr/>
              </a:pPr>
              <a:t>‹Nr.›</a:t>
            </a:fld>
            <a:endParaRPr lang="en-US" altLang="de-DE"/>
          </a:p>
        </p:txBody>
      </p:sp>
      <p:pic>
        <p:nvPicPr>
          <p:cNvPr id="2056" name="Picture 11" descr="C:\temp\7zE36E9.tmp\Logo-auf-Weiss-RGB.jpg"/>
          <p:cNvPicPr>
            <a:picLocks noChangeAspect="1" noChangeArrowheads="1"/>
          </p:cNvPicPr>
          <p:nvPr userDrawn="1"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238" y="122635"/>
            <a:ext cx="1789112" cy="383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66151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</p:sldLayoutIdLst>
  <mc:AlternateContent xmlns:mc="http://schemas.openxmlformats.org/markup-compatibility/2006" xmlns:p14="http://schemas.microsoft.com/office/powerpoint/2010/main">
    <mc:Choice Requires="p14">
      <p:transition spd="slow" p14:dur="800" advClick="0" advTm="10000">
        <p:circle/>
      </p:transition>
    </mc:Choice>
    <mc:Fallback xmlns="">
      <p:transition spd="slow" advClick="0" advTm="10000">
        <p:circle/>
      </p:transition>
    </mc:Fallback>
  </mc:AlternateConten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ustomXml" Target="../ink/ink2.xml"/><Relationship Id="rId3" Type="http://schemas.openxmlformats.org/officeDocument/2006/relationships/image" Target="../media/image9.jpeg"/><Relationship Id="rId7" Type="http://schemas.openxmlformats.org/officeDocument/2006/relationships/image" Target="../media/image13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6" Type="http://schemas.openxmlformats.org/officeDocument/2006/relationships/customXml" Target="../ink/ink1.xml"/><Relationship Id="rId11" Type="http://schemas.openxmlformats.org/officeDocument/2006/relationships/image" Target="../media/image15.png"/><Relationship Id="rId5" Type="http://schemas.openxmlformats.org/officeDocument/2006/relationships/image" Target="../media/image12.png"/><Relationship Id="rId10" Type="http://schemas.openxmlformats.org/officeDocument/2006/relationships/customXml" Target="../ink/ink3.xml"/><Relationship Id="rId4" Type="http://schemas.openxmlformats.org/officeDocument/2006/relationships/image" Target="../media/image11.png"/><Relationship Id="rId9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customXml" Target="../ink/ink4.xml"/><Relationship Id="rId4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7.emf"/><Relationship Id="rId4" Type="http://schemas.openxmlformats.org/officeDocument/2006/relationships/package" Target="../embeddings/Microsoft_Excel_Worksheet.xlsx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5" Type="http://schemas.microsoft.com/office/2007/relationships/hdphoto" Target="../media/hdphoto2.wdp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8566C379-3DFD-7E40-8BED-67EDC88C2E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51" y="-473503"/>
            <a:ext cx="9277743" cy="6178977"/>
          </a:xfrm>
          <a:prstGeom prst="rect">
            <a:avLst/>
          </a:prstGeom>
        </p:spPr>
      </p:pic>
      <p:grpSp>
        <p:nvGrpSpPr>
          <p:cNvPr id="2" name="Gruppieren 1"/>
          <p:cNvGrpSpPr/>
          <p:nvPr/>
        </p:nvGrpSpPr>
        <p:grpSpPr>
          <a:xfrm>
            <a:off x="-449" y="525713"/>
            <a:ext cx="4558274" cy="779394"/>
            <a:chOff x="6205" y="1501445"/>
            <a:chExt cx="4872497" cy="738000"/>
          </a:xfrm>
        </p:grpSpPr>
        <p:sp>
          <p:nvSpPr>
            <p:cNvPr id="20" name="Freihandform 19"/>
            <p:cNvSpPr/>
            <p:nvPr/>
          </p:nvSpPr>
          <p:spPr bwMode="ltGray">
            <a:xfrm>
              <a:off x="6205" y="1501445"/>
              <a:ext cx="618570" cy="738000"/>
            </a:xfrm>
            <a:custGeom>
              <a:avLst/>
              <a:gdLst>
                <a:gd name="connsiteX0" fmla="*/ 296984 w 296984"/>
                <a:gd name="connsiteY0" fmla="*/ 390769 h 390769"/>
                <a:gd name="connsiteX1" fmla="*/ 296984 w 296984"/>
                <a:gd name="connsiteY1" fmla="*/ 0 h 390769"/>
                <a:gd name="connsiteX2" fmla="*/ 0 w 296984"/>
                <a:gd name="connsiteY2" fmla="*/ 113323 h 390769"/>
                <a:gd name="connsiteX3" fmla="*/ 0 w 296984"/>
                <a:gd name="connsiteY3" fmla="*/ 328246 h 390769"/>
                <a:gd name="connsiteX4" fmla="*/ 296984 w 296984"/>
                <a:gd name="connsiteY4" fmla="*/ 390769 h 39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6984" h="390769">
                  <a:moveTo>
                    <a:pt x="296984" y="390769"/>
                  </a:moveTo>
                  <a:lnTo>
                    <a:pt x="296984" y="0"/>
                  </a:lnTo>
                  <a:lnTo>
                    <a:pt x="0" y="113323"/>
                  </a:lnTo>
                  <a:lnTo>
                    <a:pt x="0" y="328246"/>
                  </a:lnTo>
                  <a:lnTo>
                    <a:pt x="296984" y="390769"/>
                  </a:lnTo>
                  <a:close/>
                </a:path>
              </a:pathLst>
            </a:custGeom>
            <a:solidFill>
              <a:srgbClr val="D00028"/>
            </a:solidFill>
            <a:ln w="3175">
              <a:noFill/>
            </a:ln>
            <a:effectLst/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50000"/>
                </a:spcBef>
                <a:spcAft>
                  <a:spcPct val="0"/>
                </a:spcAft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3199" indent="1649" algn="l" rtl="0" fontAlgn="base">
                <a:spcBef>
                  <a:spcPct val="50000"/>
                </a:spcBef>
                <a:spcAft>
                  <a:spcPct val="0"/>
                </a:spcAft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48045" indent="1649" algn="l" rtl="0" fontAlgn="base">
                <a:spcBef>
                  <a:spcPct val="50000"/>
                </a:spcBef>
                <a:spcAft>
                  <a:spcPct val="0"/>
                </a:spcAft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22892" indent="1649" algn="l" rtl="0" fontAlgn="base">
                <a:spcBef>
                  <a:spcPct val="50000"/>
                </a:spcBef>
                <a:spcAft>
                  <a:spcPct val="0"/>
                </a:spcAft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97739" indent="1649" algn="l" rtl="0" fontAlgn="base">
                <a:spcBef>
                  <a:spcPct val="50000"/>
                </a:spcBef>
                <a:spcAft>
                  <a:spcPct val="0"/>
                </a:spcAft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74233" algn="l" defTabSz="949693" rtl="0" eaLnBrk="1" latinLnBrk="0" hangingPunct="1"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49081" algn="l" defTabSz="949693" rtl="0" eaLnBrk="1" latinLnBrk="0" hangingPunct="1"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23926" algn="l" defTabSz="949693" rtl="0" eaLnBrk="1" latinLnBrk="0" hangingPunct="1"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798774" algn="l" defTabSz="949693" rtl="0" eaLnBrk="1" latinLnBrk="0" hangingPunct="1">
                <a:defRPr sz="1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de-DE">
                  <a:solidFill>
                    <a:srgbClr val="FFFFFF"/>
                  </a:solidFill>
                </a:rPr>
                <a:t> </a:t>
              </a:r>
            </a:p>
          </p:txBody>
        </p:sp>
        <p:sp>
          <p:nvSpPr>
            <p:cNvPr id="19" name="Richtungspfeil 18"/>
            <p:cNvSpPr/>
            <p:nvPr/>
          </p:nvSpPr>
          <p:spPr bwMode="ltGray">
            <a:xfrm>
              <a:off x="624775" y="1501446"/>
              <a:ext cx="4253927" cy="730925"/>
            </a:xfrm>
            <a:prstGeom prst="homePlate">
              <a:avLst>
                <a:gd name="adj" fmla="val 0"/>
              </a:avLst>
            </a:prstGeom>
            <a:solidFill>
              <a:srgbClr val="FF0033"/>
            </a:solidFill>
            <a:ln w="3175">
              <a:noFill/>
            </a:ln>
            <a:effectLst/>
            <a:scene3d>
              <a:camera prst="orthographicFront"/>
              <a:lightRig rig="threePt" dir="t"/>
            </a:scene3d>
            <a:sp3d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tlCol="0" anchor="ctr"/>
            <a:lstStyle/>
            <a:p>
              <a:pPr algn="ctr">
                <a:tabLst>
                  <a:tab pos="2513592" algn="l"/>
                </a:tabLst>
              </a:pPr>
              <a:r>
                <a:rPr lang="en-GB" sz="2400" b="1" kern="0">
                  <a:solidFill>
                    <a:srgbClr val="FFFFFF"/>
                  </a:solidFill>
                </a:rPr>
                <a:t>Gemeinde Brand</a:t>
              </a:r>
              <a:endParaRPr lang="en-GB" sz="2400" b="1" kern="0">
                <a:solidFill>
                  <a:srgbClr val="FFFFFF"/>
                </a:solidFill>
                <a:latin typeface="Compasse"/>
              </a:endParaRPr>
            </a:p>
          </p:txBody>
        </p:sp>
      </p:grpSp>
      <p:sp>
        <p:nvSpPr>
          <p:cNvPr id="11" name="Richtungspfeil 10"/>
          <p:cNvSpPr/>
          <p:nvPr/>
        </p:nvSpPr>
        <p:spPr bwMode="ltGray">
          <a:xfrm>
            <a:off x="-1" y="4303015"/>
            <a:ext cx="8676454" cy="639017"/>
          </a:xfrm>
          <a:prstGeom prst="homePlate">
            <a:avLst>
              <a:gd name="adj" fmla="val 0"/>
            </a:avLst>
          </a:prstGeom>
          <a:solidFill>
            <a:srgbClr val="FF0000"/>
          </a:solidFill>
          <a:ln w="3175">
            <a:noFill/>
          </a:ln>
          <a:effectLst/>
          <a:scene3d>
            <a:camera prst="orthographic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28" tIns="45704" rIns="91404" bIns="45704" rtlCol="0" anchor="ctr"/>
          <a:lstStyle/>
          <a:p>
            <a:pPr algn="ctr">
              <a:tabLst>
                <a:tab pos="2513592" algn="l"/>
              </a:tabLst>
            </a:pPr>
            <a:r>
              <a:rPr lang="en-GB" sz="2400" b="1" kern="0">
                <a:solidFill>
                  <a:srgbClr val="FFFFFF"/>
                </a:solidFill>
              </a:rPr>
              <a:t>27. </a:t>
            </a:r>
            <a:r>
              <a:rPr lang="en-GB" sz="2400" b="1" kern="0" dirty="0" err="1">
                <a:solidFill>
                  <a:srgbClr val="FFFFFF"/>
                </a:solidFill>
              </a:rPr>
              <a:t>ordentliche</a:t>
            </a:r>
            <a:r>
              <a:rPr lang="en-GB" sz="2400" b="1" kern="0" dirty="0">
                <a:solidFill>
                  <a:srgbClr val="FFFFFF"/>
                </a:solidFill>
              </a:rPr>
              <a:t> </a:t>
            </a:r>
            <a:r>
              <a:rPr lang="de-AT" sz="2400" b="1" kern="0" dirty="0">
                <a:solidFill>
                  <a:srgbClr val="FFFFFF"/>
                </a:solidFill>
              </a:rPr>
              <a:t>Gemeindevertretungssitzung</a:t>
            </a:r>
            <a:r>
              <a:rPr lang="en-GB" sz="2400" b="1" kern="0" dirty="0">
                <a:solidFill>
                  <a:srgbClr val="FFFFFF"/>
                </a:solidFill>
              </a:rPr>
              <a:t>, 11.3.2024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840" r="100000">
                        <a14:foregroundMark x1="19748" y1="11045" x2="19748" y2="11045"/>
                        <a14:foregroundMark x1="15966" y1="18806" x2="15966" y2="18806"/>
                        <a14:foregroundMark x1="15966" y1="18507" x2="15966" y2="18507"/>
                        <a14:foregroundMark x1="33613" y1="14328" x2="33613" y2="14328"/>
                        <a14:foregroundMark x1="33613" y1="14328" x2="33613" y2="14328"/>
                        <a14:foregroundMark x1="53782" y1="9851" x2="53782" y2="9851"/>
                        <a14:foregroundMark x1="53782" y1="9851" x2="53782" y2="9851"/>
                        <a14:foregroundMark x1="64706" y1="7164" x2="64706" y2="7164"/>
                        <a14:foregroundMark x1="71429" y1="5075" x2="71429" y2="5075"/>
                        <a14:foregroundMark x1="68067" y1="11940" x2="68067" y2="11940"/>
                        <a14:foregroundMark x1="66807" y1="17313" x2="66807" y2="17313"/>
                        <a14:foregroundMark x1="65966" y1="18507" x2="65966" y2="18507"/>
                        <a14:foregroundMark x1="64706" y1="22090" x2="64706" y2="23881"/>
                        <a14:foregroundMark x1="64286" y1="24776" x2="64286" y2="27164"/>
                        <a14:foregroundMark x1="63866" y1="28657" x2="63025" y2="31642"/>
                        <a14:foregroundMark x1="62605" y1="33134" x2="62185" y2="35522"/>
                        <a14:foregroundMark x1="62185" y1="35522" x2="62185" y2="35522"/>
                        <a14:foregroundMark x1="62185" y1="37910" x2="62605" y2="40000"/>
                        <a14:foregroundMark x1="62605" y1="41791" x2="62605" y2="41791"/>
                        <a14:foregroundMark x1="63866" y1="45672" x2="63866" y2="45672"/>
                        <a14:foregroundMark x1="63866" y1="46567" x2="63866" y2="47463"/>
                        <a14:foregroundMark x1="88235" y1="9851" x2="88235" y2="9851"/>
                        <a14:foregroundMark x1="86975" y1="10746" x2="86555" y2="11940"/>
                        <a14:foregroundMark x1="85294" y1="15224" x2="85294" y2="15821"/>
                        <a14:foregroundMark x1="85294" y1="18806" x2="85294" y2="20896"/>
                        <a14:foregroundMark x1="85294" y1="20896" x2="84874" y2="21791"/>
                        <a14:foregroundMark x1="84034" y1="22985" x2="84034" y2="23881"/>
                        <a14:foregroundMark x1="83613" y1="29552" x2="83613" y2="29552"/>
                        <a14:foregroundMark x1="84874" y1="31343" x2="85294" y2="31642"/>
                        <a14:foregroundMark x1="84874" y1="35522" x2="84874" y2="35522"/>
                        <a14:foregroundMark x1="89916" y1="6567" x2="89916" y2="6567"/>
                        <a14:foregroundMark x1="91176" y1="4776" x2="91176" y2="4776"/>
                        <a14:foregroundMark x1="82773" y1="3582" x2="82773" y2="3582"/>
                        <a14:foregroundMark x1="76891" y1="3582" x2="76891" y2="3582"/>
                        <a14:foregroundMark x1="73950" y1="3881" x2="73950" y2="3881"/>
                        <a14:foregroundMark x1="70168" y1="5075" x2="68908" y2="5373"/>
                        <a14:foregroundMark x1="58403" y1="7164" x2="58403" y2="7164"/>
                        <a14:foregroundMark x1="58403" y1="7164" x2="58403" y2="7164"/>
                        <a14:foregroundMark x1="55462" y1="10448" x2="55042" y2="11343"/>
                        <a14:foregroundMark x1="51261" y1="14328" x2="51261" y2="14925"/>
                        <a14:foregroundMark x1="44958" y1="12836" x2="44958" y2="12836"/>
                        <a14:foregroundMark x1="46218" y1="15224" x2="45378" y2="17910"/>
                        <a14:foregroundMark x1="45378" y1="22090" x2="45378" y2="22090"/>
                        <a14:foregroundMark x1="45378" y1="22687" x2="44958" y2="23881"/>
                        <a14:foregroundMark x1="44118" y1="27164" x2="43697" y2="28657"/>
                        <a14:foregroundMark x1="42857" y1="31343" x2="42857" y2="31343"/>
                        <a14:foregroundMark x1="42857" y1="33433" x2="42857" y2="35821"/>
                        <a14:foregroundMark x1="42857" y1="37313" x2="42857" y2="39403"/>
                        <a14:foregroundMark x1="42437" y1="40000" x2="42437" y2="42090"/>
                        <a14:foregroundMark x1="42437" y1="42090" x2="43277" y2="44478"/>
                        <a14:foregroundMark x1="42437" y1="50746" x2="42437" y2="50746"/>
                        <a14:foregroundMark x1="42437" y1="50746" x2="42437" y2="50746"/>
                        <a14:foregroundMark x1="43277" y1="54627" x2="43277" y2="54627"/>
                        <a14:foregroundMark x1="43277" y1="55821" x2="43277" y2="55821"/>
                        <a14:foregroundMark x1="43277" y1="57015" x2="42857" y2="59701"/>
                        <a14:foregroundMark x1="34874" y1="22687" x2="34874" y2="22687"/>
                        <a14:foregroundMark x1="30252" y1="22985" x2="30252" y2="22985"/>
                        <a14:foregroundMark x1="29412" y1="24478" x2="28571" y2="25672"/>
                        <a14:foregroundMark x1="26891" y1="27463" x2="26471" y2="28657"/>
                        <a14:foregroundMark x1="23529" y1="31940" x2="22689" y2="33433"/>
                        <a14:foregroundMark x1="22689" y1="33731" x2="21849" y2="34925"/>
                        <a14:foregroundMark x1="21849" y1="37313" x2="21849" y2="40597"/>
                        <a14:foregroundMark x1="21849" y1="40597" x2="21849" y2="42985"/>
                        <a14:foregroundMark x1="21849" y1="44776" x2="22689" y2="47164"/>
                        <a14:foregroundMark x1="22269" y1="47463" x2="21849" y2="48657"/>
                        <a14:foregroundMark x1="21849" y1="49851" x2="21849" y2="51940"/>
                        <a14:foregroundMark x1="21849" y1="51940" x2="21849" y2="53433"/>
                        <a14:foregroundMark x1="21849" y1="54030" x2="21849" y2="57313"/>
                        <a14:foregroundMark x1="22269" y1="63881" x2="22269" y2="63881"/>
                        <a14:foregroundMark x1="22269" y1="63881" x2="22269" y2="63881"/>
                        <a14:foregroundMark x1="22689" y1="60597" x2="22689" y2="60597"/>
                        <a14:foregroundMark x1="22689" y1="60597" x2="23109" y2="61791"/>
                        <a14:foregroundMark x1="23529" y1="63284" x2="23529" y2="63284"/>
                        <a14:foregroundMark x1="23109" y1="65672" x2="23109" y2="68060"/>
                        <a14:foregroundMark x1="23109" y1="68060" x2="22689" y2="69552"/>
                        <a14:foregroundMark x1="22689" y1="69552" x2="22689" y2="69552"/>
                        <a14:foregroundMark x1="28571" y1="39104" x2="28571" y2="39104"/>
                        <a14:foregroundMark x1="28571" y1="39104" x2="28571" y2="39104"/>
                        <a14:foregroundMark x1="28571" y1="39104" x2="28571" y2="39104"/>
                        <a14:foregroundMark x1="26891" y1="44776" x2="26891" y2="44776"/>
                        <a14:foregroundMark x1="32353" y1="44776" x2="35714" y2="43881"/>
                        <a14:foregroundMark x1="40336" y1="41493" x2="42437" y2="41493"/>
                        <a14:foregroundMark x1="62185" y1="45373" x2="62185" y2="45373"/>
                        <a14:foregroundMark x1="63445" y1="46567" x2="64706" y2="48657"/>
                        <a14:foregroundMark x1="63445" y1="49552" x2="63866" y2="50746"/>
                        <a14:foregroundMark x1="63445" y1="51343" x2="63445" y2="51343"/>
                        <a14:foregroundMark x1="60924" y1="54627" x2="62185" y2="67164"/>
                        <a14:foregroundMark x1="56723" y1="65373" x2="56723" y2="65373"/>
                        <a14:foregroundMark x1="56723" y1="65373" x2="56723" y2="65373"/>
                        <a14:foregroundMark x1="50000" y1="60000" x2="50000" y2="59104"/>
                        <a14:foregroundMark x1="44118" y1="40299" x2="44118" y2="40299"/>
                        <a14:foregroundMark x1="43277" y1="36716" x2="43277" y2="36716"/>
                        <a14:foregroundMark x1="46218" y1="34030" x2="46218" y2="34030"/>
                        <a14:foregroundMark x1="50000" y1="32239" x2="50000" y2="32239"/>
                        <a14:foregroundMark x1="53782" y1="29552" x2="53782" y2="29552"/>
                        <a14:foregroundMark x1="54622" y1="28657" x2="54622" y2="28657"/>
                        <a14:foregroundMark x1="57983" y1="16418" x2="57983" y2="16418"/>
                        <a14:foregroundMark x1="55042" y1="15224" x2="55042" y2="15224"/>
                        <a14:foregroundMark x1="55042" y1="15224" x2="55042" y2="15224"/>
                        <a14:foregroundMark x1="54622" y1="14925" x2="54622" y2="14925"/>
                        <a14:foregroundMark x1="37815" y1="13134" x2="37815" y2="13134"/>
                        <a14:foregroundMark x1="15966" y1="14627" x2="15966" y2="14627"/>
                        <a14:foregroundMark x1="11345" y1="14925" x2="11345" y2="16119"/>
                        <a14:foregroundMark x1="9244" y1="22090" x2="8403" y2="25075"/>
                        <a14:foregroundMark x1="6723" y1="28060" x2="9664" y2="40299"/>
                        <a14:foregroundMark x1="2521" y1="38806" x2="2101" y2="39403"/>
                        <a14:foregroundMark x1="2101" y1="39403" x2="2101" y2="39403"/>
                        <a14:foregroundMark x1="2101" y1="42388" x2="2941" y2="44776"/>
                        <a14:foregroundMark x1="5882" y1="51045" x2="5882" y2="51045"/>
                        <a14:foregroundMark x1="5882" y1="51045" x2="5882" y2="51045"/>
                        <a14:foregroundMark x1="4622" y1="54925" x2="4622" y2="56418"/>
                        <a14:foregroundMark x1="4622" y1="56716" x2="5042" y2="60597"/>
                        <a14:foregroundMark x1="4622" y1="62985" x2="5882" y2="64478"/>
                        <a14:foregroundMark x1="5042" y1="65373" x2="5042" y2="66269"/>
                        <a14:foregroundMark x1="4622" y1="66866" x2="4622" y2="66866"/>
                        <a14:foregroundMark x1="4202" y1="67164" x2="7143" y2="15224"/>
                        <a14:foregroundMark x1="7143" y1="15224" x2="87815" y2="2090"/>
                        <a14:foregroundMark x1="1261" y1="68657" x2="2521" y2="0"/>
                        <a14:foregroundMark x1="2941" y1="2090" x2="84454" y2="597"/>
                        <a14:foregroundMark x1="34034" y1="5075" x2="81933" y2="8358"/>
                        <a14:foregroundMark x1="19328" y1="7164" x2="51681" y2="9851"/>
                        <a14:foregroundMark x1="70588" y1="11940" x2="77311" y2="10448"/>
                        <a14:foregroundMark x1="84454" y1="10746" x2="87815" y2="50746"/>
                        <a14:foregroundMark x1="82353" y1="34030" x2="71429" y2="65672"/>
                        <a14:foregroundMark x1="30672" y1="27761" x2="39496" y2="65075"/>
                        <a14:foregroundMark x1="44958" y1="42687" x2="43277" y2="70448"/>
                        <a14:foregroundMark x1="28151" y1="64478" x2="27311" y2="80896"/>
                        <a14:foregroundMark x1="13445" y1="14030" x2="44118" y2="37910"/>
                        <a14:foregroundMark x1="7563" y1="45970" x2="24790" y2="81791"/>
                        <a14:foregroundMark x1="4622" y1="68955" x2="62185" y2="88657"/>
                        <a14:foregroundMark x1="4622" y1="4776" x2="23529" y2="16119"/>
                        <a14:foregroundMark x1="81933" y1="8657" x2="82773" y2="47164"/>
                        <a14:foregroundMark x1="92017" y1="11343" x2="84454" y2="51642"/>
                        <a14:foregroundMark x1="75210" y1="11940" x2="63445" y2="54627"/>
                        <a14:foregroundMark x1="58403" y1="20000" x2="57563" y2="61194"/>
                        <a14:foregroundMark x1="53782" y1="54030" x2="51261" y2="68060"/>
                        <a14:foregroundMark x1="49580" y1="31940" x2="50840" y2="57910"/>
                        <a14:foregroundMark x1="18067" y1="18806" x2="13866" y2="40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95936" y="577801"/>
            <a:ext cx="474400" cy="667748"/>
          </a:xfrm>
          <a:prstGeom prst="rect">
            <a:avLst/>
          </a:prstGeom>
        </p:spPr>
      </p:pic>
      <p:sp>
        <p:nvSpPr>
          <p:cNvPr id="10" name="Freihandform 19">
            <a:extLst>
              <a:ext uri="{FF2B5EF4-FFF2-40B4-BE49-F238E27FC236}">
                <a16:creationId xmlns:a16="http://schemas.microsoft.com/office/drawing/2014/main" id="{3D05CE5D-AD69-41F4-9C8E-B6194B0739F2}"/>
              </a:ext>
            </a:extLst>
          </p:cNvPr>
          <p:cNvSpPr/>
          <p:nvPr/>
        </p:nvSpPr>
        <p:spPr bwMode="ltGray">
          <a:xfrm rot="10800000">
            <a:off x="8676455" y="4303015"/>
            <a:ext cx="467543" cy="639017"/>
          </a:xfrm>
          <a:custGeom>
            <a:avLst/>
            <a:gdLst>
              <a:gd name="connsiteX0" fmla="*/ 296984 w 296984"/>
              <a:gd name="connsiteY0" fmla="*/ 390769 h 390769"/>
              <a:gd name="connsiteX1" fmla="*/ 296984 w 296984"/>
              <a:gd name="connsiteY1" fmla="*/ 0 h 390769"/>
              <a:gd name="connsiteX2" fmla="*/ 0 w 296984"/>
              <a:gd name="connsiteY2" fmla="*/ 113323 h 390769"/>
              <a:gd name="connsiteX3" fmla="*/ 0 w 296984"/>
              <a:gd name="connsiteY3" fmla="*/ 328246 h 390769"/>
              <a:gd name="connsiteX4" fmla="*/ 296984 w 296984"/>
              <a:gd name="connsiteY4" fmla="*/ 390769 h 390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6984" h="390769">
                <a:moveTo>
                  <a:pt x="296984" y="390769"/>
                </a:moveTo>
                <a:lnTo>
                  <a:pt x="296984" y="0"/>
                </a:lnTo>
                <a:lnTo>
                  <a:pt x="0" y="113323"/>
                </a:lnTo>
                <a:lnTo>
                  <a:pt x="0" y="328246"/>
                </a:lnTo>
                <a:lnTo>
                  <a:pt x="296984" y="390769"/>
                </a:lnTo>
                <a:close/>
              </a:path>
            </a:pathLst>
          </a:custGeom>
          <a:solidFill>
            <a:srgbClr val="D00028"/>
          </a:solidFill>
          <a:ln w="3175">
            <a:noFill/>
          </a:ln>
          <a:effectLst/>
          <a:scene3d>
            <a:camera prst="orthographic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73199" indent="1649" algn="l" rtl="0" fontAlgn="base">
              <a:spcBef>
                <a:spcPct val="5000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48045" indent="1649" algn="l" rtl="0" fontAlgn="base">
              <a:spcBef>
                <a:spcPct val="5000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22892" indent="1649" algn="l" rtl="0" fontAlgn="base">
              <a:spcBef>
                <a:spcPct val="5000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97739" indent="1649" algn="l" rtl="0" fontAlgn="base">
              <a:spcBef>
                <a:spcPct val="50000"/>
              </a:spcBef>
              <a:spcAft>
                <a:spcPct val="0"/>
              </a:spcAft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74233" algn="l" defTabSz="949693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49081" algn="l" defTabSz="949693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323926" algn="l" defTabSz="949693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798774" algn="l" defTabSz="949693" rtl="0" eaLnBrk="1" latinLnBrk="0" hangingPunct="1">
              <a:defRPr sz="11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>
                <a:solidFill>
                  <a:srgbClr val="FFFFF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99106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95835" y="317235"/>
            <a:ext cx="796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4.  Beschlussfassung über Taxordnung der Gemeinde Brand</a:t>
            </a:r>
            <a:b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</a:b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     </a:t>
            </a:r>
            <a:endParaRPr lang="de-AT" altLang="de-DE" dirty="0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9B621921-30CE-3F16-79D3-43AC8E57A51F}"/>
              </a:ext>
            </a:extLst>
          </p:cNvPr>
          <p:cNvSpPr/>
          <p:nvPr/>
        </p:nvSpPr>
        <p:spPr bwMode="ltGray">
          <a:xfrm>
            <a:off x="495896" y="1039465"/>
            <a:ext cx="8117646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D831E69-7760-AB90-A65D-F17CAEBD57A2}"/>
              </a:ext>
            </a:extLst>
          </p:cNvPr>
          <p:cNvSpPr/>
          <p:nvPr/>
        </p:nvSpPr>
        <p:spPr bwMode="ltGray">
          <a:xfrm>
            <a:off x="552082" y="995286"/>
            <a:ext cx="81133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Grundsatzbeschluss über die Erhöhung in der GV 18.12.2023 auf € 3,30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4E05CB52-3B5B-9BD9-7EAE-03B78F0CFBAC}"/>
              </a:ext>
            </a:extLst>
          </p:cNvPr>
          <p:cNvSpPr/>
          <p:nvPr/>
        </p:nvSpPr>
        <p:spPr>
          <a:xfrm>
            <a:off x="570846" y="3916679"/>
            <a:ext cx="8042696" cy="369332"/>
          </a:xfrm>
          <a:prstGeom prst="rect">
            <a:avLst/>
          </a:prstGeom>
          <a:gradFill>
            <a:gsLst>
              <a:gs pos="90000">
                <a:srgbClr val="FF0000"/>
              </a:gs>
              <a:gs pos="100000">
                <a:srgbClr val="FA7B7B"/>
              </a:gs>
              <a:gs pos="100000">
                <a:srgbClr val="CCCCCC">
                  <a:lumMod val="20000"/>
                  <a:lumOff val="80000"/>
                </a:srgbClr>
              </a:gs>
            </a:gsLst>
            <a:lin ang="0" scaled="0"/>
          </a:gradFill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b="1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ntrag auf Beschlussfassung über die Einhebung &amp; Höhe der Taxordnung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97FD96C-B413-FFE1-241C-2CCC6147FF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0161" y="1531602"/>
            <a:ext cx="7550944" cy="102281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0FA5F6DC-9A43-DD59-7242-D63409DA0F1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0162" y="2546667"/>
            <a:ext cx="7550944" cy="1093828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6" name="Freihand 15">
                <a:extLst>
                  <a:ext uri="{FF2B5EF4-FFF2-40B4-BE49-F238E27FC236}">
                    <a16:creationId xmlns:a16="http://schemas.microsoft.com/office/drawing/2014/main" id="{1DD51D5F-B120-E840-59DA-716524264217}"/>
                  </a:ext>
                </a:extLst>
              </p14:cNvPr>
              <p14:cNvContentPartPr/>
              <p14:nvPr/>
            </p14:nvContentPartPr>
            <p14:xfrm>
              <a:off x="7336271" y="2059436"/>
              <a:ext cx="592200" cy="19080"/>
            </p14:xfrm>
          </p:contentPart>
        </mc:Choice>
        <mc:Fallback xmlns="">
          <p:pic>
            <p:nvPicPr>
              <p:cNvPr id="16" name="Freihand 15">
                <a:extLst>
                  <a:ext uri="{FF2B5EF4-FFF2-40B4-BE49-F238E27FC236}">
                    <a16:creationId xmlns:a16="http://schemas.microsoft.com/office/drawing/2014/main" id="{1DD51D5F-B120-E840-59DA-716524264217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282631" y="1951796"/>
                <a:ext cx="699840" cy="2347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7" name="Freihand 16">
                <a:extLst>
                  <a:ext uri="{FF2B5EF4-FFF2-40B4-BE49-F238E27FC236}">
                    <a16:creationId xmlns:a16="http://schemas.microsoft.com/office/drawing/2014/main" id="{73E2D246-CB77-7AE0-78D0-3A4D7AC2D4F5}"/>
                  </a:ext>
                </a:extLst>
              </p14:cNvPr>
              <p14:cNvContentPartPr/>
              <p14:nvPr/>
            </p14:nvContentPartPr>
            <p14:xfrm>
              <a:off x="1185311" y="2235116"/>
              <a:ext cx="733320" cy="23040"/>
            </p14:xfrm>
          </p:contentPart>
        </mc:Choice>
        <mc:Fallback xmlns="">
          <p:pic>
            <p:nvPicPr>
              <p:cNvPr id="17" name="Freihand 16">
                <a:extLst>
                  <a:ext uri="{FF2B5EF4-FFF2-40B4-BE49-F238E27FC236}">
                    <a16:creationId xmlns:a16="http://schemas.microsoft.com/office/drawing/2014/main" id="{73E2D246-CB77-7AE0-78D0-3A4D7AC2D4F5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131671" y="2127476"/>
                <a:ext cx="840960" cy="238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18" name="Freihand 17">
                <a:extLst>
                  <a:ext uri="{FF2B5EF4-FFF2-40B4-BE49-F238E27FC236}">
                    <a16:creationId xmlns:a16="http://schemas.microsoft.com/office/drawing/2014/main" id="{A5629FE5-344E-CD73-CA1D-85C8834A315D}"/>
                  </a:ext>
                </a:extLst>
              </p14:cNvPr>
              <p14:cNvContentPartPr/>
              <p14:nvPr/>
            </p14:nvContentPartPr>
            <p14:xfrm>
              <a:off x="2671391" y="3121436"/>
              <a:ext cx="1855440" cy="45000"/>
            </p14:xfrm>
          </p:contentPart>
        </mc:Choice>
        <mc:Fallback xmlns="">
          <p:pic>
            <p:nvPicPr>
              <p:cNvPr id="18" name="Freihand 17">
                <a:extLst>
                  <a:ext uri="{FF2B5EF4-FFF2-40B4-BE49-F238E27FC236}">
                    <a16:creationId xmlns:a16="http://schemas.microsoft.com/office/drawing/2014/main" id="{A5629FE5-344E-CD73-CA1D-85C8834A315D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2617751" y="3013436"/>
                <a:ext cx="1963080" cy="2606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5596081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95835" y="152923"/>
            <a:ext cx="796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5.  Beschlussfassung über die Zweitwohnungs- und Leerstandabgabe </a:t>
            </a:r>
            <a:b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</a:b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     der Gemeinde Brand</a:t>
            </a:r>
            <a:endParaRPr lang="de-AT" altLang="de-DE" dirty="0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9B621921-30CE-3F16-79D3-43AC8E57A51F}"/>
              </a:ext>
            </a:extLst>
          </p:cNvPr>
          <p:cNvSpPr/>
          <p:nvPr/>
        </p:nvSpPr>
        <p:spPr bwMode="ltGray">
          <a:xfrm>
            <a:off x="495896" y="989457"/>
            <a:ext cx="8117646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D831E69-7760-AB90-A65D-F17CAEBD57A2}"/>
              </a:ext>
            </a:extLst>
          </p:cNvPr>
          <p:cNvSpPr/>
          <p:nvPr/>
        </p:nvSpPr>
        <p:spPr bwMode="ltGray">
          <a:xfrm>
            <a:off x="552082" y="945278"/>
            <a:ext cx="81133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Grundsatzbeschluss über Einführung in der GV 18.12.2023: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836885C-973B-9CCA-4B1E-50293CD3579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0846" y="1355681"/>
            <a:ext cx="8042696" cy="2699779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4E05CB52-3B5B-9BD9-7EAE-03B78F0CFBAC}"/>
              </a:ext>
            </a:extLst>
          </p:cNvPr>
          <p:cNvSpPr/>
          <p:nvPr/>
        </p:nvSpPr>
        <p:spPr>
          <a:xfrm>
            <a:off x="570846" y="4159567"/>
            <a:ext cx="8042696" cy="338554"/>
          </a:xfrm>
          <a:prstGeom prst="rect">
            <a:avLst/>
          </a:prstGeom>
          <a:gradFill>
            <a:gsLst>
              <a:gs pos="90000">
                <a:srgbClr val="FF0000"/>
              </a:gs>
              <a:gs pos="100000">
                <a:srgbClr val="FA7B7B"/>
              </a:gs>
              <a:gs pos="100000">
                <a:srgbClr val="CCCCCC">
                  <a:lumMod val="20000"/>
                  <a:lumOff val="80000"/>
                </a:srgbClr>
              </a:gs>
            </a:gsLst>
            <a:lin ang="0" scaled="0"/>
          </a:gradFill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600" b="1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ntrag auf Beschlussfassung über die Einhebung &amp; Höhe der ZWA &amp; </a:t>
            </a:r>
            <a:r>
              <a:rPr lang="de-DE" sz="1600" b="1" dirty="0" err="1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Leerstandsabgabe</a:t>
            </a:r>
            <a:endParaRPr lang="de-DE" sz="1600" b="1" dirty="0">
              <a:solidFill>
                <a:schemeClr val="bg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1" name="Freihand 10">
                <a:extLst>
                  <a:ext uri="{FF2B5EF4-FFF2-40B4-BE49-F238E27FC236}">
                    <a16:creationId xmlns:a16="http://schemas.microsoft.com/office/drawing/2014/main" id="{51C5BB9E-78C9-D4FA-007C-698C6D7DEE1A}"/>
                  </a:ext>
                </a:extLst>
              </p14:cNvPr>
              <p14:cNvContentPartPr/>
              <p14:nvPr/>
            </p14:nvContentPartPr>
            <p14:xfrm>
              <a:off x="4456271" y="3820916"/>
              <a:ext cx="1787040" cy="38880"/>
            </p14:xfrm>
          </p:contentPart>
        </mc:Choice>
        <mc:Fallback xmlns="">
          <p:pic>
            <p:nvPicPr>
              <p:cNvPr id="11" name="Freihand 10">
                <a:extLst>
                  <a:ext uri="{FF2B5EF4-FFF2-40B4-BE49-F238E27FC236}">
                    <a16:creationId xmlns:a16="http://schemas.microsoft.com/office/drawing/2014/main" id="{51C5BB9E-78C9-D4FA-007C-698C6D7DEE1A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402631" y="3712916"/>
                <a:ext cx="1894680" cy="25452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1218205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95835" y="274371"/>
            <a:ext cx="796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6. Beschlussfassung über die Auszahlung der Gebührenbremse</a:t>
            </a:r>
            <a:endParaRPr lang="de-AT" altLang="de-DE" dirty="0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D5AFC33D-858E-5709-8D22-4A9DD245A134}"/>
              </a:ext>
            </a:extLst>
          </p:cNvPr>
          <p:cNvSpPr/>
          <p:nvPr/>
        </p:nvSpPr>
        <p:spPr bwMode="ltGray">
          <a:xfrm>
            <a:off x="569153" y="1032705"/>
            <a:ext cx="8267665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665F416-2CF5-CEB6-A162-3EF45060EDA6}"/>
              </a:ext>
            </a:extLst>
          </p:cNvPr>
          <p:cNvSpPr/>
          <p:nvPr/>
        </p:nvSpPr>
        <p:spPr bwMode="ltGray">
          <a:xfrm>
            <a:off x="569153" y="988909"/>
            <a:ext cx="83748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Vorschlag, Auszahlung über Abzug bei Rechnung Müllgrundgebühr zu berücksichtigen: 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847F05E4-3653-4D50-EFBA-ABED4FCC2589}"/>
              </a:ext>
            </a:extLst>
          </p:cNvPr>
          <p:cNvSpPr txBox="1"/>
          <p:nvPr/>
        </p:nvSpPr>
        <p:spPr>
          <a:xfrm>
            <a:off x="534041" y="1310528"/>
            <a:ext cx="80759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Vom Bund € 12.727,- für Gebührenbremse zur Verfügung gestellt</a:t>
            </a:r>
          </a:p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Verteilung/Rückvergütung obliegt der Gemeinde</a:t>
            </a:r>
          </a:p>
        </p:txBody>
      </p:sp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A96AE89C-281C-E9D0-1635-30542B26C0D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44249122"/>
              </p:ext>
            </p:extLst>
          </p:nvPr>
        </p:nvGraphicFramePr>
        <p:xfrm>
          <a:off x="1441449" y="2045261"/>
          <a:ext cx="6138510" cy="16337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3490031" imgH="929436" progId="Excel.Sheet.12">
                  <p:embed/>
                </p:oleObj>
              </mc:Choice>
              <mc:Fallback>
                <p:oleObj name="Worksheet" r:id="rId4" imgW="3490031" imgH="929436" progId="Excel.Sheet.12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A96AE89C-281C-E9D0-1635-30542B26C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1449" y="2045261"/>
                        <a:ext cx="6138510" cy="16337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0E1D28F9-1697-39DD-AA12-54E8543786A8}"/>
              </a:ext>
            </a:extLst>
          </p:cNvPr>
          <p:cNvSpPr/>
          <p:nvPr/>
        </p:nvSpPr>
        <p:spPr>
          <a:xfrm>
            <a:off x="570846" y="3916679"/>
            <a:ext cx="8042696" cy="369332"/>
          </a:xfrm>
          <a:prstGeom prst="rect">
            <a:avLst/>
          </a:prstGeom>
          <a:gradFill>
            <a:gsLst>
              <a:gs pos="90000">
                <a:srgbClr val="FF0000"/>
              </a:gs>
              <a:gs pos="100000">
                <a:srgbClr val="FA7B7B"/>
              </a:gs>
              <a:gs pos="100000">
                <a:srgbClr val="CCCCCC">
                  <a:lumMod val="20000"/>
                  <a:lumOff val="80000"/>
                </a:srgbClr>
              </a:gs>
            </a:gsLst>
            <a:lin ang="0" scaled="0"/>
          </a:gradFill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b="1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ntrag auf Beschlussfassung über Auszahlung der Gebührenbremse</a:t>
            </a:r>
          </a:p>
        </p:txBody>
      </p:sp>
    </p:spTree>
    <p:extLst>
      <p:ext uri="{BB962C8B-B14F-4D97-AF65-F5344CB8AC3E}">
        <p14:creationId xmlns:p14="http://schemas.microsoft.com/office/powerpoint/2010/main" val="31940747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95835" y="131491"/>
            <a:ext cx="796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7. Aufsichtsbeschwerde, Information Petition </a:t>
            </a:r>
            <a:b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</a:b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    „DIE EICHE – Menschenrechte und Grundfreiheiten“</a:t>
            </a:r>
            <a:endParaRPr lang="de-AT" altLang="de-DE" dirty="0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D5AFC33D-858E-5709-8D22-4A9DD245A134}"/>
              </a:ext>
            </a:extLst>
          </p:cNvPr>
          <p:cNvSpPr/>
          <p:nvPr/>
        </p:nvSpPr>
        <p:spPr bwMode="ltGray">
          <a:xfrm>
            <a:off x="569153" y="1218444"/>
            <a:ext cx="8210515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665F416-2CF5-CEB6-A162-3EF45060EDA6}"/>
              </a:ext>
            </a:extLst>
          </p:cNvPr>
          <p:cNvSpPr/>
          <p:nvPr/>
        </p:nvSpPr>
        <p:spPr bwMode="ltGray">
          <a:xfrm>
            <a:off x="569153" y="1174648"/>
            <a:ext cx="81176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Aufsichtsbehördliche Beschwerde seitens Petitionsbetreiber / gesetzl. Hintergrund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5B3F4BC7-1865-947E-C7BE-E744CEBC0658}"/>
              </a:ext>
            </a:extLst>
          </p:cNvPr>
          <p:cNvSpPr txBox="1"/>
          <p:nvPr/>
        </p:nvSpPr>
        <p:spPr>
          <a:xfrm>
            <a:off x="568020" y="1524843"/>
            <a:ext cx="8261655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nach Einbringung der Petition hat der Bgm. die Petition dem angesprochenen </a:t>
            </a:r>
            <a:r>
              <a:rPr lang="de-DE" b="1" dirty="0">
                <a:latin typeface="+mj-lt"/>
              </a:rPr>
              <a:t>Organ</a:t>
            </a:r>
            <a:r>
              <a:rPr lang="de-DE" dirty="0">
                <a:latin typeface="+mj-lt"/>
              </a:rPr>
              <a:t> – in dem Fall der GV – </a:t>
            </a:r>
            <a:r>
              <a:rPr lang="de-DE" b="1" dirty="0">
                <a:latin typeface="+mj-lt"/>
              </a:rPr>
              <a:t>zuzuleiten</a:t>
            </a:r>
          </a:p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der Bgm. hat das Gremium zumindest unter dem Punkt Mitteilungen zu informieren und </a:t>
            </a:r>
            <a:r>
              <a:rPr lang="de-DE" b="1" dirty="0">
                <a:latin typeface="+mj-lt"/>
              </a:rPr>
              <a:t>Inhalt zugänglich zu machen</a:t>
            </a:r>
          </a:p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laut GG müssen Petitionen innerhalb von </a:t>
            </a:r>
            <a:r>
              <a:rPr lang="de-DE" b="1" dirty="0">
                <a:latin typeface="+mj-lt"/>
              </a:rPr>
              <a:t>2 Monaten beantwortet werden</a:t>
            </a:r>
          </a:p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in </a:t>
            </a:r>
            <a:r>
              <a:rPr lang="de-DE" b="1" dirty="0">
                <a:latin typeface="+mj-lt"/>
              </a:rPr>
              <a:t>Kenntnissetzung</a:t>
            </a:r>
            <a:r>
              <a:rPr lang="de-DE" dirty="0">
                <a:latin typeface="+mj-lt"/>
              </a:rPr>
              <a:t> formeller Natur </a:t>
            </a:r>
            <a:r>
              <a:rPr lang="de-DE" b="1" dirty="0">
                <a:latin typeface="+mj-lt"/>
              </a:rPr>
              <a:t>ausreichend</a:t>
            </a:r>
            <a:r>
              <a:rPr lang="de-DE" dirty="0">
                <a:latin typeface="+mj-lt"/>
              </a:rPr>
              <a:t>, keine Beschlussfassung notwendig 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AD603DC-DAC5-8888-1538-00E0E16FAE45}"/>
              </a:ext>
            </a:extLst>
          </p:cNvPr>
          <p:cNvSpPr/>
          <p:nvPr/>
        </p:nvSpPr>
        <p:spPr>
          <a:xfrm>
            <a:off x="595834" y="3430897"/>
            <a:ext cx="8183833" cy="923330"/>
          </a:xfrm>
          <a:prstGeom prst="rect">
            <a:avLst/>
          </a:prstGeom>
          <a:gradFill>
            <a:gsLst>
              <a:gs pos="90000">
                <a:srgbClr val="FF0000"/>
              </a:gs>
              <a:gs pos="100000">
                <a:srgbClr val="FA7B7B"/>
              </a:gs>
              <a:gs pos="100000">
                <a:srgbClr val="CCCCCC">
                  <a:lumMod val="20000"/>
                  <a:lumOff val="80000"/>
                </a:srgbClr>
              </a:gs>
            </a:gsLst>
            <a:lin ang="0" scaled="0"/>
          </a:gradFill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b="1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Der Gemeindevertretung wurde die Petition samt Anliegen und Inhalt mit der Einladung zur </a:t>
            </a:r>
            <a:r>
              <a:rPr lang="de-DE" b="1" dirty="0" err="1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Gemeindevertetung</a:t>
            </a:r>
            <a:r>
              <a:rPr lang="de-DE" b="1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mitgesandt, das Gremium informiert und somit dem Gesetz genüge getan </a:t>
            </a:r>
          </a:p>
        </p:txBody>
      </p:sp>
    </p:spTree>
    <p:extLst>
      <p:ext uri="{BB962C8B-B14F-4D97-AF65-F5344CB8AC3E}">
        <p14:creationId xmlns:p14="http://schemas.microsoft.com/office/powerpoint/2010/main" val="38220111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95835" y="131491"/>
            <a:ext cx="796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8. Kooperationsvereinbarung Flüchtlingskoordination und Integrationsarbeit /</a:t>
            </a:r>
            <a:b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</a:b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    Sozialsprengel Raum Bludenz</a:t>
            </a:r>
            <a:endParaRPr lang="de-AT" altLang="de-DE" dirty="0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D5AFC33D-858E-5709-8D22-4A9DD245A134}"/>
              </a:ext>
            </a:extLst>
          </p:cNvPr>
          <p:cNvSpPr/>
          <p:nvPr/>
        </p:nvSpPr>
        <p:spPr bwMode="ltGray">
          <a:xfrm>
            <a:off x="569154" y="1218448"/>
            <a:ext cx="8117646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665F416-2CF5-CEB6-A162-3EF45060EDA6}"/>
              </a:ext>
            </a:extLst>
          </p:cNvPr>
          <p:cNvSpPr/>
          <p:nvPr/>
        </p:nvSpPr>
        <p:spPr bwMode="ltGray">
          <a:xfrm>
            <a:off x="569154" y="1174652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Hintergrund: 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737C3D70-D92A-6821-1072-3AF5E142E113}"/>
              </a:ext>
            </a:extLst>
          </p:cNvPr>
          <p:cNvSpPr txBox="1"/>
          <p:nvPr/>
        </p:nvSpPr>
        <p:spPr>
          <a:xfrm>
            <a:off x="569154" y="1540067"/>
            <a:ext cx="8075917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Land hat </a:t>
            </a:r>
            <a:r>
              <a:rPr lang="de-DE" b="1" dirty="0">
                <a:latin typeface="+mj-lt"/>
              </a:rPr>
              <a:t>Förderung für Integrationsarbeit </a:t>
            </a:r>
            <a:r>
              <a:rPr lang="de-DE" dirty="0">
                <a:latin typeface="+mj-lt"/>
              </a:rPr>
              <a:t>von 2,00 VZÄ auf 1,24 VZÄ </a:t>
            </a:r>
            <a:r>
              <a:rPr lang="de-DE" b="1" dirty="0">
                <a:latin typeface="+mj-lt"/>
              </a:rPr>
              <a:t>gekürzt</a:t>
            </a:r>
            <a:r>
              <a:rPr lang="de-DE" dirty="0">
                <a:latin typeface="+mj-lt"/>
              </a:rPr>
              <a:t> </a:t>
            </a:r>
            <a:r>
              <a:rPr lang="de-DE" dirty="0">
                <a:latin typeface="+mj-lt"/>
                <a:sym typeface="Wingdings" panose="05000000000000000000" pitchFamily="2" charset="2"/>
              </a:rPr>
              <a:t> Bleibeberechtigte sind nicht mehr Teil der Integrationsarbeit</a:t>
            </a:r>
          </a:p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  <a:sym typeface="Wingdings" panose="05000000000000000000" pitchFamily="2" charset="2"/>
              </a:rPr>
              <a:t>dadurch Minderbudget von € 64.600,- </a:t>
            </a:r>
            <a:endParaRPr lang="de-DE" dirty="0">
              <a:latin typeface="+mj-lt"/>
            </a:endParaRPr>
          </a:p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Solidaritätsbeschluss sämtlicher 25 V-Süd Gemeinden, dies aufzufangen</a:t>
            </a:r>
          </a:p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b="1" dirty="0">
                <a:latin typeface="+mj-lt"/>
              </a:rPr>
              <a:t>Kostenanteil</a:t>
            </a:r>
            <a:r>
              <a:rPr lang="de-DE" dirty="0">
                <a:latin typeface="+mj-lt"/>
              </a:rPr>
              <a:t> für die Gemeinde Brand sind </a:t>
            </a:r>
            <a:r>
              <a:rPr lang="de-DE" b="1" dirty="0">
                <a:latin typeface="+mj-lt"/>
              </a:rPr>
              <a:t>€ 972,77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39E3F820-4E47-CD8E-6332-6D2E9392C5C8}"/>
              </a:ext>
            </a:extLst>
          </p:cNvPr>
          <p:cNvSpPr/>
          <p:nvPr/>
        </p:nvSpPr>
        <p:spPr>
          <a:xfrm>
            <a:off x="606629" y="3297412"/>
            <a:ext cx="8042696" cy="646331"/>
          </a:xfrm>
          <a:prstGeom prst="rect">
            <a:avLst/>
          </a:prstGeom>
          <a:gradFill>
            <a:gsLst>
              <a:gs pos="90000">
                <a:srgbClr val="FF0000"/>
              </a:gs>
              <a:gs pos="100000">
                <a:srgbClr val="FA7B7B"/>
              </a:gs>
              <a:gs pos="100000">
                <a:srgbClr val="CCCCCC">
                  <a:lumMod val="20000"/>
                  <a:lumOff val="80000"/>
                </a:srgbClr>
              </a:gs>
            </a:gsLst>
            <a:lin ang="0" scaled="0"/>
          </a:gradFill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b="1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ntrag auf Beschlussfassung für Abschluss Kooperationsvereinbarung &amp; anteiliger Kostenübernahme</a:t>
            </a:r>
          </a:p>
        </p:txBody>
      </p:sp>
    </p:spTree>
    <p:extLst>
      <p:ext uri="{BB962C8B-B14F-4D97-AF65-F5344CB8AC3E}">
        <p14:creationId xmlns:p14="http://schemas.microsoft.com/office/powerpoint/2010/main" val="8980724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87566" y="269616"/>
            <a:ext cx="796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9. Aktenzahl 031-06/2023 Gemeinde Brand, </a:t>
            </a:r>
            <a:r>
              <a:rPr lang="de-AT" b="1" dirty="0" err="1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Gst</a:t>
            </a: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. 40, KG Brand, FF/FL in BM-1</a:t>
            </a:r>
            <a:endParaRPr lang="de-AT" altLang="de-DE" dirty="0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64A01490-4061-DA7A-B09A-7AF2C14FF87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082" y="872195"/>
            <a:ext cx="4948665" cy="3698196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73700FA5-C782-FFE2-CCE1-515A8D61E374}"/>
              </a:ext>
            </a:extLst>
          </p:cNvPr>
          <p:cNvSpPr/>
          <p:nvPr/>
        </p:nvSpPr>
        <p:spPr>
          <a:xfrm>
            <a:off x="5686425" y="866935"/>
            <a:ext cx="3007545" cy="3697200"/>
          </a:xfrm>
          <a:prstGeom prst="rect">
            <a:avLst/>
          </a:prstGeom>
          <a:gradFill>
            <a:gsLst>
              <a:gs pos="90000">
                <a:srgbClr val="FF0000"/>
              </a:gs>
              <a:gs pos="100000">
                <a:srgbClr val="FA7B7B"/>
              </a:gs>
              <a:gs pos="100000">
                <a:srgbClr val="CCCCCC">
                  <a:lumMod val="20000"/>
                  <a:lumOff val="80000"/>
                </a:srgbClr>
              </a:gs>
            </a:gsLst>
            <a:lin ang="0" scaled="0"/>
          </a:gradFill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wrap="square">
            <a:spAutoFit/>
          </a:bodyPr>
          <a:lstStyle/>
          <a:p>
            <a:r>
              <a:rPr lang="de-DE" sz="1500" b="1" dirty="0">
                <a:solidFill>
                  <a:schemeClr val="bg1"/>
                </a:solidFill>
              </a:rPr>
              <a:t>Gemeinde: 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dirty="0">
                <a:solidFill>
                  <a:schemeClr val="bg1"/>
                </a:solidFill>
              </a:rPr>
              <a:t>Abtretungsfläche im Rahmen des Grundstückkaufs Edi Meyer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dirty="0">
                <a:solidFill>
                  <a:schemeClr val="bg1"/>
                </a:solidFill>
              </a:rPr>
              <a:t>Umwidmung von FL in BM-[1]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dirty="0">
                <a:solidFill>
                  <a:schemeClr val="bg1"/>
                </a:solidFill>
              </a:rPr>
              <a:t>Rücknahme Entwurf auf Umwidmung FS „Kleinviehhaltung“, Verfahren eingestellt 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dirty="0">
              <a:solidFill>
                <a:schemeClr val="bg1"/>
              </a:solidFill>
            </a:endParaRPr>
          </a:p>
          <a:p>
            <a:r>
              <a:rPr lang="de-DE" sz="1500" b="1" dirty="0">
                <a:solidFill>
                  <a:schemeClr val="bg1"/>
                </a:solidFill>
              </a:rPr>
              <a:t>Update Projekt Edi Mayer / Stall: 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dirty="0">
                <a:solidFill>
                  <a:schemeClr val="bg1"/>
                </a:solidFill>
              </a:rPr>
              <a:t>Vertragsausarbeitung auf Gegengeschäftsbasis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dirty="0">
                <a:solidFill>
                  <a:schemeClr val="bg1"/>
                </a:solidFill>
              </a:rPr>
              <a:t>Baueingabe Stall in Kürze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b="1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b="1" dirty="0">
                <a:solidFill>
                  <a:schemeClr val="bg1"/>
                </a:solidFill>
              </a:rPr>
              <a:t>Antrag auf Umwidmung</a:t>
            </a:r>
          </a:p>
        </p:txBody>
      </p:sp>
    </p:spTree>
    <p:extLst>
      <p:ext uri="{BB962C8B-B14F-4D97-AF65-F5344CB8AC3E}">
        <p14:creationId xmlns:p14="http://schemas.microsoft.com/office/powerpoint/2010/main" val="40872011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87566" y="133880"/>
            <a:ext cx="796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10. Aktenzahl 031-09/2023 Manfred Königer, </a:t>
            </a:r>
            <a:r>
              <a:rPr lang="de-AT" b="1" dirty="0" err="1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Gst</a:t>
            </a: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 928, KG Brand , </a:t>
            </a:r>
            <a:b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</a:b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      Beschlussfassung Änderung FWP (Bereinigung nach Bebauung), FF in BW</a:t>
            </a:r>
            <a:endParaRPr lang="de-AT" altLang="de-DE" dirty="0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24E0249-6D45-F3CE-FB11-9AF3A30903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566" y="910727"/>
            <a:ext cx="4655947" cy="3631155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83502891-DA35-190F-83CC-40E8AF4D30BD}"/>
              </a:ext>
            </a:extLst>
          </p:cNvPr>
          <p:cNvSpPr/>
          <p:nvPr/>
        </p:nvSpPr>
        <p:spPr>
          <a:xfrm>
            <a:off x="5548888" y="910726"/>
            <a:ext cx="3007545" cy="3632400"/>
          </a:xfrm>
          <a:prstGeom prst="rect">
            <a:avLst/>
          </a:prstGeom>
          <a:gradFill>
            <a:gsLst>
              <a:gs pos="90000">
                <a:srgbClr val="FF0000"/>
              </a:gs>
              <a:gs pos="100000">
                <a:srgbClr val="FA7B7B"/>
              </a:gs>
              <a:gs pos="100000">
                <a:srgbClr val="CCCCCC">
                  <a:lumMod val="20000"/>
                  <a:lumOff val="80000"/>
                </a:srgbClr>
              </a:gs>
            </a:gsLst>
            <a:lin ang="0" scaled="0"/>
          </a:gradFill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wrap="square">
            <a:spAutoFit/>
          </a:bodyPr>
          <a:lstStyle/>
          <a:p>
            <a:endParaRPr lang="de-DE" sz="1500" b="1" dirty="0">
              <a:solidFill>
                <a:schemeClr val="bg1"/>
              </a:solidFill>
            </a:endParaRPr>
          </a:p>
          <a:p>
            <a:r>
              <a:rPr lang="de-DE" sz="1500" b="1" dirty="0">
                <a:solidFill>
                  <a:schemeClr val="bg1"/>
                </a:solidFill>
              </a:rPr>
              <a:t>Manfred Königer: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dirty="0">
                <a:solidFill>
                  <a:schemeClr val="bg1"/>
                </a:solidFill>
              </a:rPr>
              <a:t>Unterstellfläche, Gebäude bereits errichtet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dirty="0">
                <a:solidFill>
                  <a:schemeClr val="bg1"/>
                </a:solidFill>
              </a:rPr>
              <a:t>nachträgliche Bereinigung weil in FL 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dirty="0">
                <a:solidFill>
                  <a:schemeClr val="bg1"/>
                </a:solidFill>
              </a:rPr>
              <a:t>Umwidmung von FL in BW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b="1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b="1" dirty="0">
                <a:solidFill>
                  <a:schemeClr val="bg1"/>
                </a:solidFill>
              </a:rPr>
              <a:t>Antrag auf Umwidmung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8463542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87566" y="133880"/>
            <a:ext cx="796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11. Aktenzahl 031-01/2024 Gemeinde Brand, Entwurf Änderung FWP + </a:t>
            </a:r>
            <a:r>
              <a:rPr lang="de-AT" b="1" dirty="0" err="1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MdbN</a:t>
            </a:r>
            <a:b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</a:b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      Bereinigung, Areal um den alten Sportplatz</a:t>
            </a:r>
            <a:endParaRPr lang="de-AT" altLang="de-DE" dirty="0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1E7AEB5-80F7-3417-6359-8B01229B7E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85875" y="864454"/>
            <a:ext cx="6144097" cy="3735858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70E4177C-E00E-DE79-018B-825039F57A7B}"/>
              </a:ext>
            </a:extLst>
          </p:cNvPr>
          <p:cNvSpPr txBox="1"/>
          <p:nvPr/>
        </p:nvSpPr>
        <p:spPr>
          <a:xfrm>
            <a:off x="5622131" y="4029075"/>
            <a:ext cx="1485900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Status Quo</a:t>
            </a:r>
            <a:endParaRPr lang="de-AT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6429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87566" y="133880"/>
            <a:ext cx="796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11. Aktenzahl 031-01/2024 Gemeinde Brand, Entwurf Änderung FWP + </a:t>
            </a:r>
            <a:r>
              <a:rPr lang="de-AT" b="1" dirty="0" err="1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MdbN</a:t>
            </a:r>
            <a:b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</a:b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      Bereinigung, Areal um den alten Sportplatz</a:t>
            </a:r>
            <a:endParaRPr lang="de-AT" altLang="de-DE" dirty="0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E31D9BED-6D2D-5BE5-D8C3-21B2C92779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8736" y="866938"/>
            <a:ext cx="3923263" cy="3730889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032EDD58-9F5E-836F-717E-4452687887D2}"/>
              </a:ext>
            </a:extLst>
          </p:cNvPr>
          <p:cNvSpPr/>
          <p:nvPr/>
        </p:nvSpPr>
        <p:spPr>
          <a:xfrm>
            <a:off x="4770707" y="866938"/>
            <a:ext cx="3923263" cy="3729600"/>
          </a:xfrm>
          <a:prstGeom prst="rect">
            <a:avLst/>
          </a:prstGeom>
          <a:gradFill>
            <a:gsLst>
              <a:gs pos="90000">
                <a:srgbClr val="FF0000"/>
              </a:gs>
              <a:gs pos="100000">
                <a:srgbClr val="FA7B7B"/>
              </a:gs>
              <a:gs pos="100000">
                <a:srgbClr val="CCCCCC">
                  <a:lumMod val="20000"/>
                  <a:lumOff val="80000"/>
                </a:srgbClr>
              </a:gs>
            </a:gsLst>
            <a:lin ang="0" scaled="0"/>
          </a:gradFill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wrap="square">
            <a:spAutoFit/>
          </a:bodyPr>
          <a:lstStyle/>
          <a:p>
            <a:r>
              <a:rPr lang="de-DE" sz="1500" b="1" dirty="0">
                <a:solidFill>
                  <a:schemeClr val="bg1"/>
                </a:solidFill>
              </a:rPr>
              <a:t>Gemeinde: 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dirty="0">
                <a:solidFill>
                  <a:schemeClr val="bg1"/>
                </a:solidFill>
              </a:rPr>
              <a:t>Umwidmung alter Fußballplatz/</a:t>
            </a:r>
            <a:r>
              <a:rPr lang="de-DE" sz="1500" dirty="0" err="1">
                <a:solidFill>
                  <a:schemeClr val="bg1"/>
                </a:solidFill>
              </a:rPr>
              <a:t>Gufer</a:t>
            </a:r>
            <a:r>
              <a:rPr lang="de-DE" sz="1500" dirty="0">
                <a:solidFill>
                  <a:schemeClr val="bg1"/>
                </a:solidFill>
              </a:rPr>
              <a:t> im Zuge des Bauantrags von </a:t>
            </a:r>
            <a:r>
              <a:rPr lang="de-DE" sz="1500" dirty="0" err="1">
                <a:solidFill>
                  <a:schemeClr val="bg1"/>
                </a:solidFill>
              </a:rPr>
              <a:t>Teilfäche</a:t>
            </a:r>
            <a:r>
              <a:rPr lang="de-DE" sz="1500" dirty="0">
                <a:solidFill>
                  <a:schemeClr val="bg1"/>
                </a:solidFill>
              </a:rPr>
              <a:t> [SP]-FF in FF und Teilfläche BM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dirty="0">
                <a:solidFill>
                  <a:schemeClr val="bg1"/>
                </a:solidFill>
              </a:rPr>
              <a:t>Umwidmung Sozialzentrum von [VS,SP] in BW</a:t>
            </a:r>
          </a:p>
          <a:p>
            <a:endParaRPr lang="de-DE" sz="1500" b="1" dirty="0">
              <a:solidFill>
                <a:schemeClr val="bg1"/>
              </a:solidFill>
            </a:endParaRPr>
          </a:p>
          <a:p>
            <a:r>
              <a:rPr lang="de-DE" sz="1500" b="1" dirty="0">
                <a:solidFill>
                  <a:schemeClr val="bg1"/>
                </a:solidFill>
              </a:rPr>
              <a:t>Martin Bitschi:   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dirty="0">
                <a:solidFill>
                  <a:schemeClr val="bg1"/>
                </a:solidFill>
              </a:rPr>
              <a:t>Umwidmung </a:t>
            </a:r>
            <a:r>
              <a:rPr lang="de-DE" sz="1500" dirty="0" err="1">
                <a:solidFill>
                  <a:schemeClr val="bg1"/>
                </a:solidFill>
              </a:rPr>
              <a:t>Gst</a:t>
            </a:r>
            <a:r>
              <a:rPr lang="de-DE" sz="1500" dirty="0">
                <a:solidFill>
                  <a:schemeClr val="bg1"/>
                </a:solidFill>
              </a:rPr>
              <a:t>. 30/9 (Tausch Bergland/Vereinshaus) von [SP]-FF in BM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dirty="0">
                <a:solidFill>
                  <a:schemeClr val="bg1"/>
                </a:solidFill>
              </a:rPr>
              <a:t>Errichtung einer LKW-Halle samt Zufahrt vom bestehenden Betriebsgelände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b="1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b="1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b="1" dirty="0">
                <a:solidFill>
                  <a:schemeClr val="bg1"/>
                </a:solidFill>
              </a:rPr>
              <a:t>Antrag auf Umwidmung</a:t>
            </a:r>
            <a:endParaRPr lang="de-DE" sz="15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5280345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87566" y="133880"/>
            <a:ext cx="796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12. Aktenzahl 031-02/2024 Gemeinde Brand, Entwurf Änderung FWP ,</a:t>
            </a:r>
            <a:b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</a:b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      Anpassung FL in BW (Projekt Nahversorger)</a:t>
            </a:r>
            <a:endParaRPr lang="de-AT" altLang="de-DE" dirty="0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F2A30D51-30E9-237F-2E6B-878FF1B6CA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566" y="885723"/>
            <a:ext cx="4334478" cy="3664373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B901D7A5-EB80-D65A-2BB5-241DC2A3A9B2}"/>
              </a:ext>
            </a:extLst>
          </p:cNvPr>
          <p:cNvSpPr/>
          <p:nvPr/>
        </p:nvSpPr>
        <p:spPr>
          <a:xfrm>
            <a:off x="5213132" y="885722"/>
            <a:ext cx="3007545" cy="3664800"/>
          </a:xfrm>
          <a:prstGeom prst="rect">
            <a:avLst/>
          </a:prstGeom>
          <a:gradFill>
            <a:gsLst>
              <a:gs pos="90000">
                <a:srgbClr val="FF0000"/>
              </a:gs>
              <a:gs pos="100000">
                <a:srgbClr val="FA7B7B"/>
              </a:gs>
              <a:gs pos="100000">
                <a:srgbClr val="CCCCCC">
                  <a:lumMod val="20000"/>
                  <a:lumOff val="80000"/>
                </a:srgbClr>
              </a:gs>
            </a:gsLst>
            <a:lin ang="0" scaled="0"/>
          </a:gradFill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wrap="square">
            <a:spAutoFit/>
          </a:bodyPr>
          <a:lstStyle/>
          <a:p>
            <a:endParaRPr lang="de-DE" sz="1500" b="1" dirty="0">
              <a:solidFill>
                <a:schemeClr val="bg1"/>
              </a:solidFill>
            </a:endParaRPr>
          </a:p>
          <a:p>
            <a:r>
              <a:rPr lang="de-DE" sz="1500" b="1" dirty="0">
                <a:solidFill>
                  <a:schemeClr val="bg1"/>
                </a:solidFill>
              </a:rPr>
              <a:t>Gemeinde: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dirty="0">
                <a:solidFill>
                  <a:schemeClr val="bg1"/>
                </a:solidFill>
              </a:rPr>
              <a:t>Projekt Nahversorger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dirty="0">
                <a:solidFill>
                  <a:schemeClr val="bg1"/>
                </a:solidFill>
              </a:rPr>
              <a:t>Umwidmung erforderlich für LKW-Zufahrt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dirty="0">
                <a:solidFill>
                  <a:schemeClr val="bg1"/>
                </a:solidFill>
              </a:rPr>
              <a:t>Umwidmung von FL in BW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b="1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b="1" dirty="0">
                <a:solidFill>
                  <a:schemeClr val="bg1"/>
                </a:solidFill>
              </a:rPr>
              <a:t>Antrag auf Umwidmung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5430092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95835" y="315136"/>
            <a:ext cx="623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Tagesordnungspunkte</a:t>
            </a:r>
            <a:endParaRPr lang="de-AT" altLang="de-DE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61E7-75E3-4B49-AA5E-A3BB8F7A0A29}" type="slidenum">
              <a:rPr lang="de-AT" smtClean="0"/>
              <a:t>2</a:t>
            </a:fld>
            <a:endParaRPr lang="de-AT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1FAADAE5-37D6-4D9E-AC3F-EEDE8A5DE6DE}"/>
              </a:ext>
            </a:extLst>
          </p:cNvPr>
          <p:cNvSpPr/>
          <p:nvPr/>
        </p:nvSpPr>
        <p:spPr bwMode="ltGray">
          <a:xfrm>
            <a:off x="505662" y="899991"/>
            <a:ext cx="8239270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456823" y="857405"/>
            <a:ext cx="82881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/>
              <a:t> 1. Eröffnung und Begrüßung, Feststellung der Beschlussfähigkeit, Tagesordnung</a:t>
            </a:r>
            <a:endParaRPr lang="de-AT" b="1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989C91E-6E7D-336C-9758-727AEF9CE3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835" y="1312592"/>
            <a:ext cx="4654548" cy="3257549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193BAA08-12F8-434E-AEC8-1F3ECEBDB443}"/>
              </a:ext>
            </a:extLst>
          </p:cNvPr>
          <p:cNvSpPr/>
          <p:nvPr/>
        </p:nvSpPr>
        <p:spPr>
          <a:xfrm>
            <a:off x="5442220" y="1312592"/>
            <a:ext cx="3302711" cy="3258000"/>
          </a:xfrm>
          <a:prstGeom prst="rect">
            <a:avLst/>
          </a:prstGeom>
          <a:gradFill>
            <a:gsLst>
              <a:gs pos="90000">
                <a:srgbClr val="FF0000"/>
              </a:gs>
              <a:gs pos="100000">
                <a:srgbClr val="FA7B7B"/>
              </a:gs>
              <a:gs pos="100000">
                <a:srgbClr val="CCCCCC">
                  <a:lumMod val="20000"/>
                  <a:lumOff val="80000"/>
                </a:srgbClr>
              </a:gs>
            </a:gsLst>
            <a:lin ang="0" scaled="0"/>
          </a:gradFill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wrap="square">
            <a:spAutoFit/>
          </a:bodyPr>
          <a:lstStyle/>
          <a:p>
            <a:br>
              <a:rPr lang="de-DE" sz="1500" b="1" dirty="0">
                <a:solidFill>
                  <a:schemeClr val="bg1"/>
                </a:solidFill>
              </a:rPr>
            </a:br>
            <a:r>
              <a:rPr lang="de-DE" sz="1500" b="1" dirty="0">
                <a:solidFill>
                  <a:schemeClr val="bg1"/>
                </a:solidFill>
              </a:rPr>
              <a:t>Nachtrag-Tagesordnungspunkte: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e-DE" sz="15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Pkt. 13: Vertagung</a:t>
            </a:r>
          </a:p>
          <a:p>
            <a:endParaRPr lang="de-DE" sz="15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r>
              <a:rPr lang="de-DE" sz="15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Pkt. 15: Verkauf Postgarage / Florian Kegele, Grundsatzbeschluss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b="1" dirty="0">
              <a:solidFill>
                <a:schemeClr val="bg1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sz="1500" b="1" dirty="0">
                <a:solidFill>
                  <a:schemeClr val="bg1"/>
                </a:solidFill>
              </a:rPr>
              <a:t>Antrag auf Beschlussfassung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Wingdings" panose="05000000000000000000" pitchFamily="2" charset="2"/>
            </a:endParaRPr>
          </a:p>
          <a:p>
            <a:pPr marL="342900" indent="-342900">
              <a:buFont typeface="Wingdings" panose="05000000000000000000" pitchFamily="2" charset="2"/>
              <a:buChar char=""/>
            </a:pPr>
            <a:endParaRPr lang="de-DE" sz="15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7036068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87566" y="133880"/>
            <a:ext cx="796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13. Aktenzahl 031-07/2023 </a:t>
            </a:r>
            <a:r>
              <a:rPr lang="de-AT" b="1" dirty="0" err="1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illwerke</a:t>
            </a: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de-AT" b="1" dirty="0" err="1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vkw</a:t>
            </a: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 AG, Beschlussfassung Änderung FWP ,</a:t>
            </a:r>
            <a:b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</a:b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      </a:t>
            </a:r>
            <a:r>
              <a:rPr lang="de-AT" b="1" dirty="0" err="1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Gst</a:t>
            </a: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. 1367/2 und 1406 KG Brand, FF in FS Parkplatz</a:t>
            </a:r>
            <a:endParaRPr lang="de-AT" altLang="de-DE" dirty="0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B3096DFE-3B8A-FB5F-65E1-8FE781F88F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1371" y="1157862"/>
            <a:ext cx="8724132" cy="2127688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E05F0DCD-7A75-725F-B94B-F1EEBA64F200}"/>
              </a:ext>
            </a:extLst>
          </p:cNvPr>
          <p:cNvSpPr/>
          <p:nvPr/>
        </p:nvSpPr>
        <p:spPr>
          <a:xfrm>
            <a:off x="552082" y="3662472"/>
            <a:ext cx="8042696" cy="646331"/>
          </a:xfrm>
          <a:prstGeom prst="rect">
            <a:avLst/>
          </a:prstGeom>
          <a:gradFill>
            <a:gsLst>
              <a:gs pos="90000">
                <a:srgbClr val="FF0000"/>
              </a:gs>
              <a:gs pos="100000">
                <a:srgbClr val="FA7B7B"/>
              </a:gs>
              <a:gs pos="100000">
                <a:srgbClr val="CCCCCC">
                  <a:lumMod val="20000"/>
                  <a:lumOff val="80000"/>
                </a:srgbClr>
              </a:gs>
            </a:gsLst>
            <a:lin ang="0" scaled="0"/>
          </a:gradFill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b="1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ntrag auf Vertagung, ÖPNV-Beitragsverhandlungen und Evaluierung noch nicht abgeschlossen</a:t>
            </a:r>
          </a:p>
        </p:txBody>
      </p:sp>
    </p:spTree>
    <p:extLst>
      <p:ext uri="{BB962C8B-B14F-4D97-AF65-F5344CB8AC3E}">
        <p14:creationId xmlns:p14="http://schemas.microsoft.com/office/powerpoint/2010/main" val="203368227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87566" y="133880"/>
            <a:ext cx="796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14. Beschlussfassung über GIS Softwareprodukt im Zuge der Erstellung </a:t>
            </a:r>
            <a:b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</a:b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      des Leitungsinformationssystems (LIS), Angebotsvergleiche</a:t>
            </a:r>
            <a:endParaRPr lang="de-AT" altLang="de-DE" dirty="0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9DEB325E-1630-BB8B-35E4-CA26F76B2120}"/>
              </a:ext>
            </a:extLst>
          </p:cNvPr>
          <p:cNvSpPr txBox="1"/>
          <p:nvPr/>
        </p:nvSpPr>
        <p:spPr>
          <a:xfrm>
            <a:off x="630794" y="888829"/>
            <a:ext cx="8075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de-DE" b="1" dirty="0">
              <a:sym typeface="Wingdings" panose="05000000000000000000" pitchFamily="2" charset="2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056662C-D199-E161-3C03-DA850B69EE5D}"/>
              </a:ext>
            </a:extLst>
          </p:cNvPr>
          <p:cNvSpPr txBox="1"/>
          <p:nvPr/>
        </p:nvSpPr>
        <p:spPr>
          <a:xfrm>
            <a:off x="633284" y="1326101"/>
            <a:ext cx="3960000" cy="2308324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Eigenentwicklung vkw Netze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Wasser und Kanaleinarbeitung, optional Beleuchtung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Kosten auf 3 Jahre (24/25/26), in Folge jährliche Lizenzkoste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Förderung ca. 43%</a:t>
            </a:r>
          </a:p>
          <a:p>
            <a:endParaRPr lang="de-DE" sz="1600" dirty="0">
              <a:sym typeface="Wingdings" panose="05000000000000000000" pitchFamily="2" charset="2"/>
            </a:endParaRPr>
          </a:p>
          <a:p>
            <a:r>
              <a:rPr lang="de-DE" sz="1600" b="1" dirty="0">
                <a:sym typeface="Wingdings" panose="05000000000000000000" pitchFamily="2" charset="2"/>
              </a:rPr>
              <a:t>Gesamtkosten: </a:t>
            </a:r>
            <a:r>
              <a:rPr lang="de-DE" sz="1600" dirty="0">
                <a:sym typeface="Wingdings" panose="05000000000000000000" pitchFamily="2" charset="2"/>
              </a:rPr>
              <a:t>		</a:t>
            </a:r>
            <a:r>
              <a:rPr lang="de-DE" sz="1600" b="1" dirty="0">
                <a:sym typeface="Wingdings" panose="05000000000000000000" pitchFamily="2" charset="2"/>
              </a:rPr>
              <a:t>€  43.127,- </a:t>
            </a:r>
          </a:p>
          <a:p>
            <a:r>
              <a:rPr lang="de-DE" sz="1600" dirty="0">
                <a:sym typeface="Wingdings" panose="05000000000000000000" pitchFamily="2" charset="2"/>
              </a:rPr>
              <a:t>	               (+ 4.885,- Beleuchtung)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C317124C-9BAD-57B7-8495-B81F9A82F0FB}"/>
              </a:ext>
            </a:extLst>
          </p:cNvPr>
          <p:cNvSpPr txBox="1"/>
          <p:nvPr/>
        </p:nvSpPr>
        <p:spPr>
          <a:xfrm>
            <a:off x="4876470" y="1323997"/>
            <a:ext cx="3960000" cy="230832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Basiert auf open source Software QGIS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„Wasser und Kanaleinarbeitung, optional Beleuchtung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Kosten auf 3 Jahre (24/25/26), in Folge jährliche Lizenzkosten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sz="1600" dirty="0">
                <a:sym typeface="Wingdings" panose="05000000000000000000" pitchFamily="2" charset="2"/>
              </a:rPr>
              <a:t>Förderung ca. 43 %</a:t>
            </a:r>
          </a:p>
          <a:p>
            <a:endParaRPr lang="de-DE" sz="1600" dirty="0">
              <a:sym typeface="Wingdings" panose="05000000000000000000" pitchFamily="2" charset="2"/>
            </a:endParaRPr>
          </a:p>
          <a:p>
            <a:r>
              <a:rPr lang="de-DE" sz="1600" b="1" dirty="0">
                <a:sym typeface="Wingdings" panose="05000000000000000000" pitchFamily="2" charset="2"/>
              </a:rPr>
              <a:t>Gesamtkosten:</a:t>
            </a:r>
            <a:r>
              <a:rPr lang="de-DE" sz="1600" dirty="0">
                <a:sym typeface="Wingdings" panose="05000000000000000000" pitchFamily="2" charset="2"/>
              </a:rPr>
              <a:t> 		    </a:t>
            </a:r>
            <a:r>
              <a:rPr lang="de-DE" sz="1600" b="1" dirty="0">
                <a:sym typeface="Wingdings" panose="05000000000000000000" pitchFamily="2" charset="2"/>
              </a:rPr>
              <a:t>€ 27.361,- </a:t>
            </a:r>
          </a:p>
          <a:p>
            <a:r>
              <a:rPr lang="de-DE" sz="1600" dirty="0">
                <a:sym typeface="Wingdings" panose="05000000000000000000" pitchFamily="2" charset="2"/>
              </a:rPr>
              <a:t>	               (+ € 4.023,- Beleuchtung)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F74CB1A-7B1E-698C-2326-A54322249373}"/>
              </a:ext>
            </a:extLst>
          </p:cNvPr>
          <p:cNvSpPr txBox="1"/>
          <p:nvPr/>
        </p:nvSpPr>
        <p:spPr>
          <a:xfrm>
            <a:off x="639267" y="958311"/>
            <a:ext cx="3929673" cy="36933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/>
              <a:t>vorarlberg</a:t>
            </a:r>
            <a:r>
              <a:rPr lang="de-DE" b="1" dirty="0"/>
              <a:t> netz Plattform</a:t>
            </a:r>
            <a:endParaRPr lang="de-AT" b="1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2113653-93DE-13B1-8C9B-80482DE4ED3F}"/>
              </a:ext>
            </a:extLst>
          </p:cNvPr>
          <p:cNvSpPr txBox="1"/>
          <p:nvPr/>
        </p:nvSpPr>
        <p:spPr>
          <a:xfrm>
            <a:off x="4876470" y="977231"/>
            <a:ext cx="3960000" cy="3693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b="1" dirty="0" err="1"/>
              <a:t>GemSpider</a:t>
            </a:r>
            <a:r>
              <a:rPr lang="de-DE" b="1" dirty="0"/>
              <a:t> Plattform</a:t>
            </a:r>
            <a:endParaRPr lang="de-AT" b="1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A10B433-9455-FEA5-754D-58D722A6BACA}"/>
              </a:ext>
            </a:extLst>
          </p:cNvPr>
          <p:cNvSpPr/>
          <p:nvPr/>
        </p:nvSpPr>
        <p:spPr>
          <a:xfrm>
            <a:off x="647066" y="3815858"/>
            <a:ext cx="8189404" cy="646331"/>
          </a:xfrm>
          <a:prstGeom prst="rect">
            <a:avLst/>
          </a:prstGeom>
          <a:gradFill>
            <a:gsLst>
              <a:gs pos="90000">
                <a:srgbClr val="FF0000"/>
              </a:gs>
              <a:gs pos="100000">
                <a:srgbClr val="FA7B7B"/>
              </a:gs>
              <a:gs pos="100000">
                <a:srgbClr val="CCCCCC">
                  <a:lumMod val="20000"/>
                  <a:lumOff val="80000"/>
                </a:srgbClr>
              </a:gs>
            </a:gsLst>
            <a:lin ang="0" scaled="0"/>
          </a:gradFill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b="1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Delta nach Förderung und inkl. Beleuchtung € 9.479,- </a:t>
            </a:r>
          </a:p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b="1" dirty="0">
                <a:solidFill>
                  <a:schemeClr val="bg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Antrag auf Beschlussfassung</a:t>
            </a:r>
          </a:p>
        </p:txBody>
      </p:sp>
    </p:spTree>
    <p:extLst>
      <p:ext uri="{BB962C8B-B14F-4D97-AF65-F5344CB8AC3E}">
        <p14:creationId xmlns:p14="http://schemas.microsoft.com/office/powerpoint/2010/main" val="12312093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87566" y="279165"/>
            <a:ext cx="796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15. Verkauf Postgarage, </a:t>
            </a:r>
            <a:r>
              <a:rPr lang="de-AT" b="1" dirty="0" err="1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Gst</a:t>
            </a:r>
            <a:r>
              <a:rPr lang="de-AT" b="1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. 232 KG Brand, Florian Kegele</a:t>
            </a:r>
            <a:endParaRPr lang="de-AT" altLang="de-DE" dirty="0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D5AFC33D-858E-5709-8D22-4A9DD245A134}"/>
              </a:ext>
            </a:extLst>
          </p:cNvPr>
          <p:cNvSpPr/>
          <p:nvPr/>
        </p:nvSpPr>
        <p:spPr bwMode="ltGray">
          <a:xfrm>
            <a:off x="569154" y="1132716"/>
            <a:ext cx="8117646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665F416-2CF5-CEB6-A162-3EF45060EDA6}"/>
              </a:ext>
            </a:extLst>
          </p:cNvPr>
          <p:cNvSpPr/>
          <p:nvPr/>
        </p:nvSpPr>
        <p:spPr bwMode="ltGray">
          <a:xfrm>
            <a:off x="569154" y="1088920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Hintergrund: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740247E-0748-DCEB-8A71-3B6864E38731}"/>
              </a:ext>
            </a:extLst>
          </p:cNvPr>
          <p:cNvSpPr/>
          <p:nvPr/>
        </p:nvSpPr>
        <p:spPr>
          <a:xfrm>
            <a:off x="590357" y="3481789"/>
            <a:ext cx="8075240" cy="369332"/>
          </a:xfrm>
          <a:prstGeom prst="rect">
            <a:avLst/>
          </a:prstGeom>
          <a:gradFill>
            <a:gsLst>
              <a:gs pos="90000">
                <a:srgbClr val="FF0000"/>
              </a:gs>
              <a:gs pos="100000">
                <a:srgbClr val="FA7B7B"/>
              </a:gs>
              <a:gs pos="100000">
                <a:srgbClr val="CCCCCC">
                  <a:lumMod val="20000"/>
                  <a:lumOff val="80000"/>
                </a:srgbClr>
              </a:gs>
            </a:gsLst>
            <a:lin ang="0" scaled="0"/>
          </a:gradFill>
          <a:effectLst>
            <a:outerShdw blurRad="50800" dist="38100" dir="2700000" algn="ctr" rotWithShape="0">
              <a:schemeClr val="tx1">
                <a:alpha val="40000"/>
              </a:schemeClr>
            </a:outerShdw>
          </a:effectLst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"/>
            </a:pPr>
            <a:r>
              <a:rPr lang="de-DE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trag auf Beschlussfassung für Verkauf </a:t>
            </a:r>
            <a:r>
              <a:rPr lang="de-DE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st</a:t>
            </a:r>
            <a:r>
              <a:rPr lang="de-DE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232 samt Objek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3E5E89FB-0A50-6729-8442-3E774CA034D2}"/>
              </a:ext>
            </a:extLst>
          </p:cNvPr>
          <p:cNvSpPr txBox="1"/>
          <p:nvPr/>
        </p:nvSpPr>
        <p:spPr>
          <a:xfrm>
            <a:off x="568020" y="1467691"/>
            <a:ext cx="807591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Erlöse aus Verkauf sollen Kosten für Bauhoferweiterung (</a:t>
            </a:r>
            <a:r>
              <a:rPr lang="de-DE" dirty="0" err="1">
                <a:latin typeface="+mj-lt"/>
              </a:rPr>
              <a:t>Pistenbully</a:t>
            </a:r>
            <a:r>
              <a:rPr lang="de-DE" dirty="0">
                <a:latin typeface="+mj-lt"/>
              </a:rPr>
              <a:t>-Halle samt Lager) finanzieren</a:t>
            </a:r>
          </a:p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bei Behalt Sanierungsarbeiten bzw. Investitionen notwendig</a:t>
            </a:r>
          </a:p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AT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rundverkehrsbehördliche Genehmigung erforderlich / FF</a:t>
            </a:r>
            <a:endParaRPr lang="de-DE" dirty="0">
              <a:latin typeface="+mj-lt"/>
            </a:endParaRPr>
          </a:p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Schätzgutachten wurde erstellt</a:t>
            </a:r>
          </a:p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Verkaufspreis verhandelt: € 66.100,- / Nebengebühren Käufer</a:t>
            </a:r>
          </a:p>
        </p:txBody>
      </p:sp>
    </p:spTree>
    <p:extLst>
      <p:ext uri="{BB962C8B-B14F-4D97-AF65-F5344CB8AC3E}">
        <p14:creationId xmlns:p14="http://schemas.microsoft.com/office/powerpoint/2010/main" val="26805574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95835" y="315136"/>
            <a:ext cx="623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sz="1600" b="1" dirty="0">
                <a:solidFill>
                  <a:srgbClr val="FF0000"/>
                </a:solidFill>
              </a:rPr>
              <a:t>16. Allfälliges </a:t>
            </a:r>
            <a:endParaRPr lang="de-AT" altLang="de-DE" sz="1100" dirty="0">
              <a:solidFill>
                <a:srgbClr val="464646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61E7-75E3-4B49-AA5E-A3BB8F7A0A29}" type="slidenum">
              <a:rPr lang="de-AT" smtClean="0"/>
              <a:t>23</a:t>
            </a:fld>
            <a:endParaRPr lang="de-AT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emeinde Brand</a:t>
            </a:r>
            <a:endParaRPr lang="de-AT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sp>
        <p:nvSpPr>
          <p:cNvPr id="7" name="AutoShape 2" descr="🤔 nachdenkendes Gesicht-Emoji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sp>
        <p:nvSpPr>
          <p:cNvPr id="8" name="AutoShape 4" descr="🤔 nachdenkendes Gesicht-Emoji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sp>
        <p:nvSpPr>
          <p:cNvPr id="9" name="AutoShape 6" descr="🤔 nachdenkendes Gesicht-Emoji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36498" y="1347614"/>
            <a:ext cx="3015622" cy="2762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7933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-1116632" y="-20538"/>
            <a:ext cx="10939124" cy="4693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61E7-75E3-4B49-AA5E-A3BB8F7A0A29}" type="slidenum">
              <a:rPr lang="de-AT" smtClean="0"/>
              <a:t>24</a:t>
            </a:fld>
            <a:endParaRPr lang="de-AT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>
                        <a14:foregroundMark x1="23239" y1="15000" x2="23239" y2="15000"/>
                        <a14:foregroundMark x1="9859" y1="11500" x2="9859" y2="11500"/>
                        <a14:foregroundMark x1="9859" y1="11500" x2="9859" y2="11500"/>
                        <a14:foregroundMark x1="9859" y1="20000" x2="9859" y2="20000"/>
                        <a14:foregroundMark x1="9155" y1="29500" x2="9155" y2="29500"/>
                        <a14:foregroundMark x1="9155" y1="29500" x2="9155" y2="29500"/>
                        <a14:foregroundMark x1="24648" y1="28500" x2="24648" y2="28500"/>
                        <a14:foregroundMark x1="38732" y1="17500" x2="38732" y2="17500"/>
                        <a14:foregroundMark x1="38028" y1="11500" x2="38028" y2="11500"/>
                        <a14:foregroundMark x1="27465" y1="8500" x2="27465" y2="8500"/>
                        <a14:foregroundMark x1="9859" y1="5000" x2="9859" y2="5000"/>
                        <a14:foregroundMark x1="4930" y1="40000" x2="4930" y2="40000"/>
                        <a14:foregroundMark x1="17606" y1="37500" x2="17606" y2="37500"/>
                        <a14:foregroundMark x1="5634" y1="52500" x2="5634" y2="52500"/>
                        <a14:foregroundMark x1="5634" y1="60000" x2="5634" y2="61500"/>
                        <a14:foregroundMark x1="9155" y1="43000" x2="9155" y2="43000"/>
                        <a14:foregroundMark x1="10563" y1="37000" x2="10563" y2="37000"/>
                        <a14:foregroundMark x1="13380" y1="31000" x2="13380" y2="31000"/>
                        <a14:foregroundMark x1="10563" y1="26500" x2="10563" y2="26500"/>
                        <a14:foregroundMark x1="10563" y1="23000" x2="10563" y2="23000"/>
                        <a14:foregroundMark x1="12676" y1="20000" x2="12676" y2="20000"/>
                        <a14:foregroundMark x1="9155" y1="17000" x2="9155" y2="17000"/>
                        <a14:foregroundMark x1="8451" y1="6000" x2="8451" y2="6000"/>
                        <a14:foregroundMark x1="16901" y1="11000" x2="16901" y2="11000"/>
                        <a14:foregroundMark x1="22535" y1="41500" x2="22535" y2="41500"/>
                        <a14:foregroundMark x1="23239" y1="53500" x2="23239" y2="53500"/>
                        <a14:foregroundMark x1="21831" y1="60500" x2="21831" y2="60500"/>
                        <a14:foregroundMark x1="21831" y1="67500" x2="21831" y2="67500"/>
                        <a14:foregroundMark x1="23239" y1="32500" x2="23239" y2="32500"/>
                        <a14:foregroundMark x1="28169" y1="23000" x2="28169" y2="23000"/>
                        <a14:foregroundMark x1="36620" y1="23000" x2="36620" y2="23000"/>
                        <a14:foregroundMark x1="43662" y1="13000" x2="43662" y2="13000"/>
                        <a14:foregroundMark x1="47887" y1="14000" x2="47887" y2="14000"/>
                        <a14:foregroundMark x1="47183" y1="22500" x2="47183" y2="22500"/>
                        <a14:foregroundMark x1="44366" y1="31500" x2="44366" y2="31500"/>
                        <a14:foregroundMark x1="42254" y1="45000" x2="42254" y2="45000"/>
                        <a14:foregroundMark x1="44366" y1="53000" x2="44366" y2="53000"/>
                        <a14:foregroundMark x1="42254" y1="39500" x2="42254" y2="39500"/>
                        <a14:foregroundMark x1="42958" y1="59500" x2="42958" y2="59500"/>
                        <a14:foregroundMark x1="41549" y1="65000" x2="41549" y2="65000"/>
                        <a14:foregroundMark x1="61972" y1="55500" x2="61972" y2="55500"/>
                        <a14:foregroundMark x1="60563" y1="48000" x2="60563" y2="48000"/>
                        <a14:foregroundMark x1="61268" y1="41000" x2="61268" y2="41000"/>
                        <a14:foregroundMark x1="62676" y1="35500" x2="62676" y2="35500"/>
                        <a14:foregroundMark x1="62676" y1="28000" x2="62676" y2="28000"/>
                        <a14:foregroundMark x1="66197" y1="17000" x2="66197" y2="17000"/>
                        <a14:foregroundMark x1="66197" y1="9500" x2="66197" y2="9500"/>
                        <a14:foregroundMark x1="89437" y1="6500" x2="89437" y2="6500"/>
                        <a14:foregroundMark x1="84507" y1="17000" x2="84507" y2="17000"/>
                        <a14:foregroundMark x1="85211" y1="23500" x2="85211" y2="23500"/>
                        <a14:foregroundMark x1="83803" y1="31000" x2="83803" y2="31000"/>
                        <a14:foregroundMark x1="83803" y1="37000" x2="83803" y2="37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5725" y="1619250"/>
            <a:ext cx="135255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260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xit" presetSubtype="0" repeatCount="indefinite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1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1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20000">
                                          <p:val>
                                            <p:fltVal val="0"/>
                                          </p:val>
                                        </p:tav>
                                        <p:tav tm="2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3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3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40000">
                                          <p:val>
                                            <p:strVal val="-ppt_w"/>
                                          </p:val>
                                        </p:tav>
                                        <p:tav tm="45000">
                                          <p:val>
                                            <p:strVal val="-0.92*ppt_w"/>
                                          </p:val>
                                        </p:tav>
                                        <p:tav tm="50000">
                                          <p:val>
                                            <p:strVal val="-0.71*ppt_w"/>
                                          </p:val>
                                        </p:tav>
                                        <p:tav tm="55000">
                                          <p:val>
                                            <p:strVal val="-0.38*ppt_w"/>
                                          </p:val>
                                        </p:tav>
                                        <p:tav tm="60000">
                                          <p:val>
                                            <p:fltVal val="0"/>
                                          </p:val>
                                        </p:tav>
                                        <p:tav tm="6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7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7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80000">
                                          <p:val>
                                            <p:strVal val="ppt_w"/>
                                          </p:val>
                                        </p:tav>
                                        <p:tav tm="85000">
                                          <p:val>
                                            <p:strVal val="0.92*ppt_w"/>
                                          </p:val>
                                        </p:tav>
                                        <p:tav tm="90000">
                                          <p:val>
                                            <p:strVal val="0.71*ppt_w"/>
                                          </p:val>
                                        </p:tav>
                                        <p:tav tm="95000">
                                          <p:val>
                                            <p:strVal val="0.38*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strVal val="ppt_h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95835" y="315136"/>
            <a:ext cx="623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>
                <a:solidFill>
                  <a:srgbClr val="FF0000"/>
                </a:solidFill>
                <a:latin typeface="+mj-lt"/>
              </a:rPr>
              <a:t>2. Niederschrift</a:t>
            </a:r>
            <a:endParaRPr lang="de-AT" altLang="de-DE">
              <a:solidFill>
                <a:srgbClr val="464646"/>
              </a:solidFill>
              <a:latin typeface="+mj-lt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0E61E7-75E3-4B49-AA5E-A3BB8F7A0A29}" type="slidenum">
              <a:rPr lang="de-AT" smtClean="0"/>
              <a:t>3</a:t>
            </a:fld>
            <a:endParaRPr lang="de-AT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683568" y="2365317"/>
            <a:ext cx="75608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dirty="0"/>
              <a:t>Genehmigung der Niederschrift der 26. GV-Sitzung vom 22. Jan. 2024</a:t>
            </a:r>
            <a:endParaRPr lang="de-AT" sz="2000" b="1" dirty="0"/>
          </a:p>
        </p:txBody>
      </p:sp>
    </p:spTree>
    <p:extLst>
      <p:ext uri="{BB962C8B-B14F-4D97-AF65-F5344CB8AC3E}">
        <p14:creationId xmlns:p14="http://schemas.microsoft.com/office/powerpoint/2010/main" val="19282149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95835" y="315136"/>
            <a:ext cx="623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3. Berichte </a:t>
            </a:r>
            <a:endParaRPr lang="de-AT" altLang="de-DE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 bwMode="ltGray">
          <a:xfrm>
            <a:off x="555278" y="1031370"/>
            <a:ext cx="8117646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4" name="Rechteck 13"/>
          <p:cNvSpPr/>
          <p:nvPr/>
        </p:nvSpPr>
        <p:spPr bwMode="ltGray">
          <a:xfrm>
            <a:off x="555278" y="987574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/>
              <a:t>Beschlüsse des Vorstands: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1E8D15B-289C-4E1D-B267-AC0E7EB44BD9}"/>
              </a:ext>
            </a:extLst>
          </p:cNvPr>
          <p:cNvSpPr txBox="1"/>
          <p:nvPr/>
        </p:nvSpPr>
        <p:spPr>
          <a:xfrm>
            <a:off x="611560" y="1371046"/>
            <a:ext cx="8075917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Zustimmung Grundteilung:  Martin Schallert / </a:t>
            </a:r>
            <a:r>
              <a:rPr lang="de-DE" dirty="0" err="1">
                <a:latin typeface="+mj-lt"/>
              </a:rPr>
              <a:t>Studa</a:t>
            </a:r>
            <a:r>
              <a:rPr lang="de-DE" dirty="0">
                <a:latin typeface="+mj-lt"/>
              </a:rPr>
              <a:t> 44_Wohnbau Selbsthilfe, </a:t>
            </a:r>
            <a:r>
              <a:rPr lang="de-DE" dirty="0" err="1">
                <a:latin typeface="+mj-lt"/>
              </a:rPr>
              <a:t>Gst</a:t>
            </a:r>
            <a:r>
              <a:rPr lang="de-DE" dirty="0">
                <a:latin typeface="+mj-lt"/>
              </a:rPr>
              <a:t>. 893</a:t>
            </a:r>
          </a:p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Zustimmung Grundteilung: Sporthotel Beck GmbH, </a:t>
            </a:r>
            <a:r>
              <a:rPr lang="de-DE" dirty="0" err="1">
                <a:latin typeface="+mj-lt"/>
              </a:rPr>
              <a:t>Gst</a:t>
            </a:r>
            <a:r>
              <a:rPr lang="de-DE" dirty="0">
                <a:latin typeface="+mj-lt"/>
              </a:rPr>
              <a:t>. 1005/1 und Grundstückverlauf</a:t>
            </a:r>
          </a:p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Vergabe Gemeindewohnungen Zollhaus und </a:t>
            </a:r>
            <a:r>
              <a:rPr lang="de-DE" dirty="0" err="1">
                <a:latin typeface="+mj-lt"/>
              </a:rPr>
              <a:t>Studa</a:t>
            </a:r>
            <a:r>
              <a:rPr lang="de-DE" dirty="0">
                <a:latin typeface="+mj-lt"/>
              </a:rPr>
              <a:t> 44_Golle</a:t>
            </a:r>
          </a:p>
          <a:p>
            <a:pPr marL="285750" indent="-285750" hangingPunct="0">
              <a:buFont typeface="Wingdings" panose="05000000000000000000" pitchFamily="2" charset="2"/>
              <a:buChar char="§"/>
            </a:pPr>
            <a:endParaRPr lang="de-DE" dirty="0">
              <a:latin typeface="+mj-lt"/>
            </a:endParaRPr>
          </a:p>
          <a:p>
            <a:pPr hangingPunct="0"/>
            <a:endParaRPr lang="de-AT" dirty="0">
              <a:latin typeface="+mj-lt"/>
            </a:endParaRPr>
          </a:p>
        </p:txBody>
      </p:sp>
      <p:graphicFrame>
        <p:nvGraphicFramePr>
          <p:cNvPr id="16" name="Tabelle 15">
            <a:extLst>
              <a:ext uri="{FF2B5EF4-FFF2-40B4-BE49-F238E27FC236}">
                <a16:creationId xmlns:a16="http://schemas.microsoft.com/office/drawing/2014/main" id="{01F71476-32A0-B6C9-DAC0-BB972BF6D3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5594012"/>
              </p:ext>
            </p:extLst>
          </p:nvPr>
        </p:nvGraphicFramePr>
        <p:xfrm>
          <a:off x="1018378" y="2927446"/>
          <a:ext cx="8382796" cy="1184685"/>
        </p:xfrm>
        <a:graphic>
          <a:graphicData uri="http://schemas.openxmlformats.org/drawingml/2006/table">
            <a:tbl>
              <a:tblPr/>
              <a:tblGrid>
                <a:gridCol w="495469">
                  <a:extLst>
                    <a:ext uri="{9D8B030D-6E8A-4147-A177-3AD203B41FA5}">
                      <a16:colId xmlns:a16="http://schemas.microsoft.com/office/drawing/2014/main" val="3487453610"/>
                    </a:ext>
                  </a:extLst>
                </a:gridCol>
                <a:gridCol w="1165021">
                  <a:extLst>
                    <a:ext uri="{9D8B030D-6E8A-4147-A177-3AD203B41FA5}">
                      <a16:colId xmlns:a16="http://schemas.microsoft.com/office/drawing/2014/main" val="3265950419"/>
                    </a:ext>
                  </a:extLst>
                </a:gridCol>
                <a:gridCol w="1031112">
                  <a:extLst>
                    <a:ext uri="{9D8B030D-6E8A-4147-A177-3AD203B41FA5}">
                      <a16:colId xmlns:a16="http://schemas.microsoft.com/office/drawing/2014/main" val="3386882461"/>
                    </a:ext>
                  </a:extLst>
                </a:gridCol>
                <a:gridCol w="990936">
                  <a:extLst>
                    <a:ext uri="{9D8B030D-6E8A-4147-A177-3AD203B41FA5}">
                      <a16:colId xmlns:a16="http://schemas.microsoft.com/office/drawing/2014/main" val="1297433925"/>
                    </a:ext>
                  </a:extLst>
                </a:gridCol>
                <a:gridCol w="629379">
                  <a:extLst>
                    <a:ext uri="{9D8B030D-6E8A-4147-A177-3AD203B41FA5}">
                      <a16:colId xmlns:a16="http://schemas.microsoft.com/office/drawing/2014/main" val="2963396157"/>
                    </a:ext>
                  </a:extLst>
                </a:gridCol>
                <a:gridCol w="749898">
                  <a:extLst>
                    <a:ext uri="{9D8B030D-6E8A-4147-A177-3AD203B41FA5}">
                      <a16:colId xmlns:a16="http://schemas.microsoft.com/office/drawing/2014/main" val="3367837633"/>
                    </a:ext>
                  </a:extLst>
                </a:gridCol>
                <a:gridCol w="3320981">
                  <a:extLst>
                    <a:ext uri="{9D8B030D-6E8A-4147-A177-3AD203B41FA5}">
                      <a16:colId xmlns:a16="http://schemas.microsoft.com/office/drawing/2014/main" val="1303128841"/>
                    </a:ext>
                  </a:extLst>
                </a:gridCol>
              </a:tblGrid>
              <a:tr h="23693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NachnameSuch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Vornam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Antragsar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1" i="0" u="none" strike="noStrike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Miet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1" i="0" u="none" strike="noStrike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Punkt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1" i="0" u="none" strike="noStrike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Bewerbungsgrund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799903"/>
                  </a:ext>
                </a:extLst>
              </a:tr>
              <a:tr h="23693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iv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HEDLER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exandra Mari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-3 Zi.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5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23232776"/>
                  </a:ext>
                </a:extLst>
              </a:tr>
              <a:tr h="23693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iv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SCHKULNIG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in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Zi.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7464264"/>
                  </a:ext>
                </a:extLst>
              </a:tr>
              <a:tr h="23693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iv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HALLERT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ébastien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-4 Zi.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5143456"/>
                  </a:ext>
                </a:extLst>
              </a:tr>
              <a:tr h="236937"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iv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ZIRJAK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saba Richard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AT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A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AT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68988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07188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95835" y="315136"/>
            <a:ext cx="623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3. Berichte </a:t>
            </a:r>
            <a:endParaRPr lang="de-AT" altLang="de-DE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4A296D60-3631-2822-D379-8C900D7DAA40}"/>
              </a:ext>
            </a:extLst>
          </p:cNvPr>
          <p:cNvSpPr/>
          <p:nvPr/>
        </p:nvSpPr>
        <p:spPr bwMode="ltGray">
          <a:xfrm>
            <a:off x="501393" y="1032581"/>
            <a:ext cx="8117646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BD01D2F-2B90-01B4-0E32-28B087BACBBC}"/>
              </a:ext>
            </a:extLst>
          </p:cNvPr>
          <p:cNvSpPr/>
          <p:nvPr/>
        </p:nvSpPr>
        <p:spPr bwMode="ltGray">
          <a:xfrm>
            <a:off x="501393" y="988785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/>
              <a:t>Update Projekt Nahversorger 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4DCBDBD-35D4-F4EB-CA17-1F8C5AC4057B}"/>
              </a:ext>
            </a:extLst>
          </p:cNvPr>
          <p:cNvSpPr txBox="1"/>
          <p:nvPr/>
        </p:nvSpPr>
        <p:spPr>
          <a:xfrm>
            <a:off x="557675" y="1372257"/>
            <a:ext cx="8075917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b="1" dirty="0">
                <a:latin typeface="+mj-lt"/>
              </a:rPr>
              <a:t>Bauverhandlung</a:t>
            </a:r>
            <a:r>
              <a:rPr lang="de-DE" dirty="0">
                <a:latin typeface="+mj-lt"/>
              </a:rPr>
              <a:t> am </a:t>
            </a:r>
            <a:r>
              <a:rPr lang="de-DE" b="1" dirty="0">
                <a:latin typeface="+mj-lt"/>
              </a:rPr>
              <a:t>8.2.2024</a:t>
            </a:r>
            <a:r>
              <a:rPr lang="de-DE" dirty="0">
                <a:latin typeface="+mj-lt"/>
              </a:rPr>
              <a:t> stattgefunden, einige Deckpläne nachzureichen aufgrund Auflagen, Bescheid in Kürze erwartet</a:t>
            </a:r>
          </a:p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b="1" dirty="0">
                <a:latin typeface="+mj-lt"/>
              </a:rPr>
              <a:t>Mietvertrag</a:t>
            </a:r>
            <a:r>
              <a:rPr lang="de-DE" dirty="0">
                <a:latin typeface="+mj-lt"/>
              </a:rPr>
              <a:t> fertig, noch </a:t>
            </a:r>
            <a:r>
              <a:rPr lang="de-DE" b="1" dirty="0">
                <a:latin typeface="+mj-lt"/>
              </a:rPr>
              <a:t>nicht unterschrieben</a:t>
            </a:r>
          </a:p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Fachplanung weist derzeit eine </a:t>
            </a:r>
            <a:r>
              <a:rPr lang="de-DE" b="1" dirty="0">
                <a:latin typeface="+mj-lt"/>
              </a:rPr>
              <a:t>Plankostenüberschreitung von netto ca. 300 K</a:t>
            </a:r>
            <a:r>
              <a:rPr lang="de-DE" dirty="0">
                <a:latin typeface="+mj-lt"/>
              </a:rPr>
              <a:t> aus (vor Ausschreibung)</a:t>
            </a:r>
          </a:p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SPAR alleine für Ladenbau über 150 K gegenüber Grobkostenschätzung Sep. 23</a:t>
            </a:r>
          </a:p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Varianten für </a:t>
            </a:r>
            <a:r>
              <a:rPr lang="de-DE" b="1" dirty="0">
                <a:latin typeface="+mj-lt"/>
              </a:rPr>
              <a:t>Kosteneinsparungen werden geprüft </a:t>
            </a:r>
            <a:r>
              <a:rPr lang="de-DE" dirty="0">
                <a:latin typeface="+mj-lt"/>
              </a:rPr>
              <a:t>(Heizung-, Sanitär-, Kälte und Lüftungstechnik, Estrich und Fliesen etc.)</a:t>
            </a:r>
          </a:p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endgültige </a:t>
            </a:r>
            <a:r>
              <a:rPr lang="de-DE" b="1" dirty="0">
                <a:latin typeface="+mj-lt"/>
              </a:rPr>
              <a:t>Kostenfreigab</a:t>
            </a:r>
            <a:r>
              <a:rPr lang="de-DE" dirty="0">
                <a:latin typeface="+mj-lt"/>
              </a:rPr>
              <a:t>e erst </a:t>
            </a:r>
            <a:r>
              <a:rPr lang="de-DE" b="1" dirty="0">
                <a:latin typeface="+mj-lt"/>
              </a:rPr>
              <a:t>nach Ausschreibung </a:t>
            </a:r>
            <a:r>
              <a:rPr lang="de-DE" dirty="0">
                <a:latin typeface="+mj-lt"/>
              </a:rPr>
              <a:t>und GU-Angebot</a:t>
            </a:r>
          </a:p>
          <a:p>
            <a:pPr marL="285750" indent="-285750" hangingPunct="0">
              <a:buFont typeface="Wingdings" panose="05000000000000000000" pitchFamily="2" charset="2"/>
              <a:buChar char="§"/>
            </a:pPr>
            <a:endParaRPr lang="de-DE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5572651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95835" y="315136"/>
            <a:ext cx="623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3. Berichte </a:t>
            </a:r>
            <a:endParaRPr lang="de-AT" altLang="de-DE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4A296D60-3631-2822-D379-8C900D7DAA40}"/>
              </a:ext>
            </a:extLst>
          </p:cNvPr>
          <p:cNvSpPr/>
          <p:nvPr/>
        </p:nvSpPr>
        <p:spPr bwMode="ltGray">
          <a:xfrm>
            <a:off x="501393" y="1032581"/>
            <a:ext cx="8117646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BD01D2F-2B90-01B4-0E32-28B087BACBBC}"/>
              </a:ext>
            </a:extLst>
          </p:cNvPr>
          <p:cNvSpPr/>
          <p:nvPr/>
        </p:nvSpPr>
        <p:spPr bwMode="ltGray">
          <a:xfrm>
            <a:off x="501393" y="988785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ÖPNV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4DCBDBD-35D4-F4EB-CA17-1F8C5AC4057B}"/>
              </a:ext>
            </a:extLst>
          </p:cNvPr>
          <p:cNvSpPr txBox="1"/>
          <p:nvPr/>
        </p:nvSpPr>
        <p:spPr>
          <a:xfrm>
            <a:off x="557675" y="1350825"/>
            <a:ext cx="807591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b="1" dirty="0">
                <a:latin typeface="+mj-lt"/>
              </a:rPr>
              <a:t>Verhandlungen</a:t>
            </a:r>
            <a:r>
              <a:rPr lang="de-DE" dirty="0">
                <a:latin typeface="+mj-lt"/>
              </a:rPr>
              <a:t> mit VVV über Beitrag Gästemobilität (Freie Fahrt mit Bus &amp; Bahn in Vorarlberg)</a:t>
            </a:r>
          </a:p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Hinterfragung der </a:t>
            </a:r>
            <a:r>
              <a:rPr lang="de-DE" b="1" dirty="0">
                <a:latin typeface="+mj-lt"/>
              </a:rPr>
              <a:t>Beitrags- bzw. Förderkosten</a:t>
            </a:r>
            <a:r>
              <a:rPr lang="de-DE" dirty="0">
                <a:latin typeface="+mj-lt"/>
              </a:rPr>
              <a:t>, auch vor dem Hintergrund einer Erhöhung der Gästetaxe um min. weitere 0,50 Cent ab 1.5.25</a:t>
            </a:r>
          </a:p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Termin 13.3.24 ÖPNV Brandnertal und Klostertal mit VVV </a:t>
            </a:r>
            <a:r>
              <a:rPr lang="de-DE" dirty="0">
                <a:latin typeface="+mj-lt"/>
                <a:sym typeface="Wingdings" panose="05000000000000000000" pitchFamily="2" charset="2"/>
              </a:rPr>
              <a:t></a:t>
            </a:r>
            <a:r>
              <a:rPr lang="de-DE" dirty="0">
                <a:latin typeface="+mj-lt"/>
              </a:rPr>
              <a:t> bei keiner Einigung steht </a:t>
            </a:r>
            <a:r>
              <a:rPr lang="de-DE" b="1" dirty="0">
                <a:latin typeface="+mj-lt"/>
              </a:rPr>
              <a:t>Ausstieg aus </a:t>
            </a:r>
            <a:r>
              <a:rPr lang="de-DE" dirty="0">
                <a:latin typeface="+mj-lt"/>
              </a:rPr>
              <a:t>dem </a:t>
            </a:r>
            <a:r>
              <a:rPr lang="de-DE" b="1" dirty="0">
                <a:latin typeface="+mj-lt"/>
              </a:rPr>
              <a:t>Vertrag</a:t>
            </a:r>
            <a:r>
              <a:rPr lang="de-DE" dirty="0">
                <a:latin typeface="+mj-lt"/>
              </a:rPr>
              <a:t> im Raum 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551022-6FB8-AB56-1A97-01207818D652}"/>
              </a:ext>
            </a:extLst>
          </p:cNvPr>
          <p:cNvSpPr/>
          <p:nvPr/>
        </p:nvSpPr>
        <p:spPr bwMode="ltGray">
          <a:xfrm>
            <a:off x="532346" y="3235249"/>
            <a:ext cx="8117646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B2B8F6B-E32F-1509-94B7-FB5EE13BDAB2}"/>
              </a:ext>
            </a:extLst>
          </p:cNvPr>
          <p:cNvSpPr/>
          <p:nvPr/>
        </p:nvSpPr>
        <p:spPr bwMode="ltGray">
          <a:xfrm>
            <a:off x="532346" y="3191453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Kabel TV Infrastruktur / Lampert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FAA5D02-EF7E-322A-4814-6859C5249EF8}"/>
              </a:ext>
            </a:extLst>
          </p:cNvPr>
          <p:cNvSpPr txBox="1"/>
          <p:nvPr/>
        </p:nvSpPr>
        <p:spPr>
          <a:xfrm>
            <a:off x="552082" y="3543011"/>
            <a:ext cx="80759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Verhandlungen über </a:t>
            </a:r>
            <a:r>
              <a:rPr lang="de-DE" b="1" dirty="0">
                <a:latin typeface="+mj-lt"/>
              </a:rPr>
              <a:t>Kostenstruktur</a:t>
            </a:r>
          </a:p>
          <a:p>
            <a:pPr marL="285750" indent="-285750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Kostenfaktor LWL–Ausbau bis 2030</a:t>
            </a:r>
          </a:p>
        </p:txBody>
      </p:sp>
    </p:spTree>
    <p:extLst>
      <p:ext uri="{BB962C8B-B14F-4D97-AF65-F5344CB8AC3E}">
        <p14:creationId xmlns:p14="http://schemas.microsoft.com/office/powerpoint/2010/main" val="26723657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95835" y="315136"/>
            <a:ext cx="623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3. Berichte </a:t>
            </a:r>
            <a:endParaRPr lang="de-AT" altLang="de-DE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4A296D60-3631-2822-D379-8C900D7DAA40}"/>
              </a:ext>
            </a:extLst>
          </p:cNvPr>
          <p:cNvSpPr/>
          <p:nvPr/>
        </p:nvSpPr>
        <p:spPr bwMode="ltGray">
          <a:xfrm>
            <a:off x="501393" y="1032581"/>
            <a:ext cx="8117646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BD01D2F-2B90-01B4-0E32-28B087BACBBC}"/>
              </a:ext>
            </a:extLst>
          </p:cNvPr>
          <p:cNvSpPr/>
          <p:nvPr/>
        </p:nvSpPr>
        <p:spPr bwMode="ltGray">
          <a:xfrm>
            <a:off x="501393" y="988785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Windmessung </a:t>
            </a:r>
            <a:r>
              <a:rPr lang="de-DE" b="1" dirty="0" err="1"/>
              <a:t>Gulmagrat</a:t>
            </a:r>
            <a:endParaRPr lang="de-DE" b="1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4DCBDBD-35D4-F4EB-CA17-1F8C5AC4057B}"/>
              </a:ext>
            </a:extLst>
          </p:cNvPr>
          <p:cNvSpPr txBox="1"/>
          <p:nvPr/>
        </p:nvSpPr>
        <p:spPr>
          <a:xfrm>
            <a:off x="557675" y="1329393"/>
            <a:ext cx="80759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Messung startet am 12.3.24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551022-6FB8-AB56-1A97-01207818D652}"/>
              </a:ext>
            </a:extLst>
          </p:cNvPr>
          <p:cNvSpPr/>
          <p:nvPr/>
        </p:nvSpPr>
        <p:spPr bwMode="ltGray">
          <a:xfrm>
            <a:off x="501393" y="1818777"/>
            <a:ext cx="8117646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B2B8F6B-E32F-1509-94B7-FB5EE13BDAB2}"/>
              </a:ext>
            </a:extLst>
          </p:cNvPr>
          <p:cNvSpPr/>
          <p:nvPr/>
        </p:nvSpPr>
        <p:spPr bwMode="ltGray">
          <a:xfrm>
            <a:off x="501393" y="1774981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Ausbau der E-Ladepunkte mit </a:t>
            </a:r>
            <a:r>
              <a:rPr lang="de-DE" b="1" dirty="0" err="1"/>
              <a:t>vlotte</a:t>
            </a:r>
            <a:r>
              <a:rPr lang="de-DE" b="1" dirty="0"/>
              <a:t> illwerke vkw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FAA5D02-EF7E-322A-4814-6859C5249EF8}"/>
              </a:ext>
            </a:extLst>
          </p:cNvPr>
          <p:cNvSpPr txBox="1"/>
          <p:nvPr/>
        </p:nvSpPr>
        <p:spPr>
          <a:xfrm>
            <a:off x="501393" y="2556551"/>
            <a:ext cx="807591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Baubescheide für BRS und </a:t>
            </a:r>
            <a:r>
              <a:rPr lang="de-DE" dirty="0" err="1">
                <a:latin typeface="+mj-lt"/>
              </a:rPr>
              <a:t>Lambo_Kontour</a:t>
            </a:r>
            <a:r>
              <a:rPr lang="de-DE" dirty="0">
                <a:latin typeface="+mj-lt"/>
              </a:rPr>
              <a:t> ausgestellt</a:t>
            </a:r>
          </a:p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Schlussüberprüfung Bertel Sport GmbH</a:t>
            </a:r>
          </a:p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Bauverhandlung Haus Montana stattgefunden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377C2DA-9DB8-5074-95D6-81D9E96B275D}"/>
              </a:ext>
            </a:extLst>
          </p:cNvPr>
          <p:cNvSpPr/>
          <p:nvPr/>
        </p:nvSpPr>
        <p:spPr bwMode="ltGray">
          <a:xfrm>
            <a:off x="510353" y="2268448"/>
            <a:ext cx="8117646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66D99148-06C8-E3BC-CF05-8CBB2B7F5E8B}"/>
              </a:ext>
            </a:extLst>
          </p:cNvPr>
          <p:cNvSpPr/>
          <p:nvPr/>
        </p:nvSpPr>
        <p:spPr bwMode="ltGray">
          <a:xfrm>
            <a:off x="510353" y="2224652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aubereich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595F1BC8-B632-21E4-A7FE-9EBBB56E14F6}"/>
              </a:ext>
            </a:extLst>
          </p:cNvPr>
          <p:cNvSpPr/>
          <p:nvPr/>
        </p:nvSpPr>
        <p:spPr bwMode="ltGray">
          <a:xfrm>
            <a:off x="420597" y="3632736"/>
            <a:ext cx="8117646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39A758DE-06E9-1141-502C-326E86179398}"/>
              </a:ext>
            </a:extLst>
          </p:cNvPr>
          <p:cNvSpPr/>
          <p:nvPr/>
        </p:nvSpPr>
        <p:spPr bwMode="ltGray">
          <a:xfrm>
            <a:off x="420597" y="3588940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e5-Audit in Vor- und Aufbereitung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15412C2-CF8E-A51E-20F8-17172F28D691}"/>
              </a:ext>
            </a:extLst>
          </p:cNvPr>
          <p:cNvSpPr/>
          <p:nvPr/>
        </p:nvSpPr>
        <p:spPr bwMode="ltGray">
          <a:xfrm>
            <a:off x="420597" y="4090470"/>
            <a:ext cx="8117646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E433569-83E8-2FE8-F84B-673845DE7E1D}"/>
              </a:ext>
            </a:extLst>
          </p:cNvPr>
          <p:cNvSpPr/>
          <p:nvPr/>
        </p:nvSpPr>
        <p:spPr bwMode="ltGray">
          <a:xfrm>
            <a:off x="420597" y="4046674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Vertrag mit Gemeindearzt Dr. Mohilla bis 31.12.2033 verlängert</a:t>
            </a:r>
          </a:p>
        </p:txBody>
      </p:sp>
    </p:spTree>
    <p:extLst>
      <p:ext uri="{BB962C8B-B14F-4D97-AF65-F5344CB8AC3E}">
        <p14:creationId xmlns:p14="http://schemas.microsoft.com/office/powerpoint/2010/main" val="2715859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95835" y="315136"/>
            <a:ext cx="623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3. Berichte </a:t>
            </a:r>
            <a:endParaRPr lang="de-AT" altLang="de-DE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D0035DA0-65D6-3F79-DA1E-14AE1891A02C}"/>
              </a:ext>
            </a:extLst>
          </p:cNvPr>
          <p:cNvSpPr/>
          <p:nvPr/>
        </p:nvSpPr>
        <p:spPr bwMode="ltGray">
          <a:xfrm>
            <a:off x="496066" y="1199867"/>
            <a:ext cx="8117646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57E873B-DF9F-312E-89AF-1CA7B7E7C9D0}"/>
              </a:ext>
            </a:extLst>
          </p:cNvPr>
          <p:cNvSpPr/>
          <p:nvPr/>
        </p:nvSpPr>
        <p:spPr bwMode="ltGray">
          <a:xfrm>
            <a:off x="496066" y="1156071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Zukunftsausschuss / REP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8577B477-A7B8-43E1-2154-FFBFACAD4164}"/>
              </a:ext>
            </a:extLst>
          </p:cNvPr>
          <p:cNvSpPr txBox="1"/>
          <p:nvPr/>
        </p:nvSpPr>
        <p:spPr>
          <a:xfrm>
            <a:off x="516930" y="1518653"/>
            <a:ext cx="8075917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b="1" dirty="0">
                <a:latin typeface="+mj-lt"/>
              </a:rPr>
              <a:t>Sitzung am 6.2.24 stattgefunden </a:t>
            </a:r>
          </a:p>
          <a:p>
            <a:pPr marL="742950" lvl="1" indent="-285750" algn="just" hangingPunct="0">
              <a:buFont typeface="Wingdings" panose="05000000000000000000" pitchFamily="2" charset="2"/>
              <a:buChar char="Ø"/>
            </a:pPr>
            <a:r>
              <a:rPr lang="de-AT" b="1" dirty="0">
                <a:latin typeface="Calibri" panose="020F0502020204030204" pitchFamily="34" charset="0"/>
                <a:ea typeface="Times New Roman" panose="02020603050405020304" pitchFamily="18" charset="0"/>
              </a:rPr>
              <a:t>Durchsicht</a:t>
            </a:r>
            <a:r>
              <a:rPr lang="de-AT" dirty="0">
                <a:latin typeface="Calibri" panose="020F0502020204030204" pitchFamily="34" charset="0"/>
                <a:ea typeface="Times New Roman" panose="02020603050405020304" pitchFamily="18" charset="0"/>
              </a:rPr>
              <a:t> sämtlicher </a:t>
            </a:r>
            <a:r>
              <a:rPr lang="de-AT" b="1" dirty="0">
                <a:latin typeface="Calibri" panose="020F0502020204030204" pitchFamily="34" charset="0"/>
                <a:ea typeface="Times New Roman" panose="02020603050405020304" pitchFamily="18" charset="0"/>
              </a:rPr>
              <a:t>Siedlungsränder und Grundstücksverläufe</a:t>
            </a:r>
          </a:p>
          <a:p>
            <a:pPr marL="742950" lvl="1" indent="-285750" algn="just" hangingPunct="0">
              <a:buFont typeface="Wingdings" panose="05000000000000000000" pitchFamily="2" charset="2"/>
              <a:buChar char="Ø"/>
            </a:pPr>
            <a:r>
              <a:rPr lang="de-AT" dirty="0">
                <a:latin typeface="Calibri" panose="020F0502020204030204" pitchFamily="34" charset="0"/>
              </a:rPr>
              <a:t>Aufgabe, etwaige </a:t>
            </a:r>
            <a:r>
              <a:rPr lang="de-AT" b="1" dirty="0">
                <a:latin typeface="Calibri" panose="020F0502020204030204" pitchFamily="34" charset="0"/>
              </a:rPr>
              <a:t>Verlaufsänderungen</a:t>
            </a:r>
            <a:r>
              <a:rPr lang="de-AT" dirty="0">
                <a:latin typeface="Calibri" panose="020F0502020204030204" pitchFamily="34" charset="0"/>
              </a:rPr>
              <a:t> des Siedlungsrandes zu </a:t>
            </a:r>
            <a:r>
              <a:rPr lang="de-AT" b="1" dirty="0">
                <a:latin typeface="Calibri" panose="020F0502020204030204" pitchFamily="34" charset="0"/>
              </a:rPr>
              <a:t>markieren</a:t>
            </a:r>
            <a:r>
              <a:rPr lang="de-AT" dirty="0">
                <a:latin typeface="Calibri" panose="020F0502020204030204" pitchFamily="34" charset="0"/>
              </a:rPr>
              <a:t> – bestmöglich mit Rücksprache der Grundstückseigentümer – zu begründen</a:t>
            </a:r>
          </a:p>
          <a:p>
            <a:pPr marL="742950" lvl="1" indent="-285750" algn="just" hangingPunct="0">
              <a:buFont typeface="Wingdings" panose="05000000000000000000" pitchFamily="2" charset="2"/>
              <a:buChar char="Ø"/>
            </a:pPr>
            <a:r>
              <a:rPr lang="de-AT" b="1" dirty="0">
                <a:latin typeface="Calibri" panose="020F0502020204030204" pitchFamily="34" charset="0"/>
              </a:rPr>
              <a:t>Einteilung der Grundstücke </a:t>
            </a:r>
            <a:r>
              <a:rPr lang="de-AT" dirty="0">
                <a:latin typeface="Calibri" panose="020F0502020204030204" pitchFamily="34" charset="0"/>
              </a:rPr>
              <a:t>bis zur derzeitigen Siedlungsgrenze in folgende Kategorien, wo voraussichtlich in den kommenden Jahren Bautätigkeiten zu erwarten sind, unabhängig von der Flächenwidmung:</a:t>
            </a:r>
          </a:p>
          <a:p>
            <a:pPr marL="1200150" lvl="2" indent="-285750" algn="just" hangingPunct="0">
              <a:buFont typeface="Symbol" panose="05050102010706020507" pitchFamily="18" charset="2"/>
              <a:buChar char="-"/>
            </a:pPr>
            <a:r>
              <a:rPr lang="de-AT" b="1" dirty="0">
                <a:latin typeface="Calibri" panose="020F0502020204030204" pitchFamily="34" charset="0"/>
              </a:rPr>
              <a:t>0 bis 7 Jahre</a:t>
            </a:r>
          </a:p>
          <a:p>
            <a:pPr marL="1200150" lvl="2" indent="-285750" algn="just" hangingPunct="0">
              <a:buFont typeface="Symbol" panose="05050102010706020507" pitchFamily="18" charset="2"/>
              <a:buChar char="-"/>
            </a:pPr>
            <a:r>
              <a:rPr lang="de-AT" b="1" dirty="0">
                <a:latin typeface="Calibri" panose="020F0502020204030204" pitchFamily="34" charset="0"/>
              </a:rPr>
              <a:t>8 bis 15 Jahre</a:t>
            </a:r>
            <a:endParaRPr lang="de-DE" b="1" dirty="0">
              <a:latin typeface="+mj-lt"/>
            </a:endParaRPr>
          </a:p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b="1" dirty="0">
                <a:latin typeface="+mj-lt"/>
              </a:rPr>
              <a:t>Nächster Termin am 18.3.24 </a:t>
            </a:r>
          </a:p>
        </p:txBody>
      </p:sp>
    </p:spTree>
    <p:extLst>
      <p:ext uri="{BB962C8B-B14F-4D97-AF65-F5344CB8AC3E}">
        <p14:creationId xmlns:p14="http://schemas.microsoft.com/office/powerpoint/2010/main" val="21652316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2" descr="\\belgium\files\Vorlagen\71Media\Bildauswahl\Hintergrund_grau\1.pn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4" y="771550"/>
            <a:ext cx="9140766" cy="3921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5"/>
          <p:cNvSpPr>
            <a:spLocks noChangeArrowheads="1"/>
          </p:cNvSpPr>
          <p:nvPr/>
        </p:nvSpPr>
        <p:spPr bwMode="auto">
          <a:xfrm>
            <a:off x="595835" y="315136"/>
            <a:ext cx="6238867" cy="569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cs typeface="Arial Unicode MS" charset="0"/>
              </a:defRPr>
            </a:lvl9pPr>
          </a:lstStyle>
          <a:p>
            <a:pPr defTabSz="798138" eaLnBrk="1" fontAlgn="base">
              <a:spcBef>
                <a:spcPts val="830"/>
              </a:spcBef>
              <a:spcAft>
                <a:spcPct val="0"/>
              </a:spcAft>
            </a:pPr>
            <a:r>
              <a:rPr lang="de-AT" b="1">
                <a:solidFill>
                  <a:srgbClr val="FF0000"/>
                </a:solidFill>
                <a:latin typeface="+mj-lt"/>
                <a:cs typeface="Arial" panose="020B0604020202020204" pitchFamily="34" charset="0"/>
              </a:rPr>
              <a:t>3. Berichte </a:t>
            </a:r>
            <a:endParaRPr lang="de-AT" altLang="de-DE">
              <a:solidFill>
                <a:srgbClr val="464646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781618"/>
            <a:ext cx="2895600" cy="273844"/>
          </a:xfrm>
        </p:spPr>
        <p:txBody>
          <a:bodyPr/>
          <a:lstStyle/>
          <a:p>
            <a:r>
              <a:rPr lang="de-AT"/>
              <a:t>Gemeinde Brand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97" y="4726608"/>
            <a:ext cx="262971" cy="370381"/>
          </a:xfrm>
          <a:prstGeom prst="rect">
            <a:avLst/>
          </a:prstGeom>
        </p:spPr>
      </p:pic>
      <p:sp>
        <p:nvSpPr>
          <p:cNvPr id="3" name="Rechteck 2">
            <a:extLst>
              <a:ext uri="{FF2B5EF4-FFF2-40B4-BE49-F238E27FC236}">
                <a16:creationId xmlns:a16="http://schemas.microsoft.com/office/drawing/2014/main" id="{4A296D60-3631-2822-D379-8C900D7DAA40}"/>
              </a:ext>
            </a:extLst>
          </p:cNvPr>
          <p:cNvSpPr/>
          <p:nvPr/>
        </p:nvSpPr>
        <p:spPr bwMode="ltGray">
          <a:xfrm>
            <a:off x="501393" y="1032581"/>
            <a:ext cx="8117646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BD01D2F-2B90-01B4-0E32-28B087BACBBC}"/>
              </a:ext>
            </a:extLst>
          </p:cNvPr>
          <p:cNvSpPr/>
          <p:nvPr/>
        </p:nvSpPr>
        <p:spPr bwMode="ltGray">
          <a:xfrm>
            <a:off x="501393" y="988785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Feuerwehr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4DCBDBD-35D4-F4EB-CA17-1F8C5AC4057B}"/>
              </a:ext>
            </a:extLst>
          </p:cNvPr>
          <p:cNvSpPr txBox="1"/>
          <p:nvPr/>
        </p:nvSpPr>
        <p:spPr>
          <a:xfrm>
            <a:off x="557675" y="1315105"/>
            <a:ext cx="80759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Feuerwehr-Kommandantenwahl am 23.2.204</a:t>
            </a:r>
          </a:p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b="1" dirty="0">
                <a:latin typeface="+mj-lt"/>
              </a:rPr>
              <a:t>Martin </a:t>
            </a:r>
            <a:r>
              <a:rPr lang="de-DE" b="1" dirty="0" err="1">
                <a:latin typeface="+mj-lt"/>
              </a:rPr>
              <a:t>Sauermoser</a:t>
            </a:r>
            <a:r>
              <a:rPr lang="de-DE" b="1" dirty="0">
                <a:latin typeface="+mj-lt"/>
              </a:rPr>
              <a:t> </a:t>
            </a:r>
            <a:r>
              <a:rPr lang="de-DE" dirty="0">
                <a:latin typeface="+mj-lt"/>
              </a:rPr>
              <a:t>neuer Kommandant, </a:t>
            </a:r>
            <a:r>
              <a:rPr lang="de-DE" b="1" dirty="0">
                <a:latin typeface="+mj-lt"/>
              </a:rPr>
              <a:t>Florian </a:t>
            </a:r>
            <a:r>
              <a:rPr lang="de-DE" b="1" dirty="0" err="1">
                <a:latin typeface="+mj-lt"/>
              </a:rPr>
              <a:t>Spiegl</a:t>
            </a:r>
            <a:r>
              <a:rPr lang="de-DE" b="1" dirty="0">
                <a:latin typeface="+mj-lt"/>
              </a:rPr>
              <a:t> </a:t>
            </a:r>
            <a:r>
              <a:rPr lang="de-DE" dirty="0">
                <a:latin typeface="+mj-lt"/>
              </a:rPr>
              <a:t>Kommandant-</a:t>
            </a:r>
            <a:r>
              <a:rPr lang="de-DE" dirty="0" err="1">
                <a:latin typeface="+mj-lt"/>
              </a:rPr>
              <a:t>Stv</a:t>
            </a:r>
            <a:r>
              <a:rPr lang="de-DE" dirty="0">
                <a:latin typeface="+mj-lt"/>
              </a:rPr>
              <a:t>.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2A551022-6FB8-AB56-1A97-01207818D652}"/>
              </a:ext>
            </a:extLst>
          </p:cNvPr>
          <p:cNvSpPr/>
          <p:nvPr/>
        </p:nvSpPr>
        <p:spPr bwMode="ltGray">
          <a:xfrm>
            <a:off x="501393" y="2097381"/>
            <a:ext cx="8117646" cy="277823"/>
          </a:xfrm>
          <a:prstGeom prst="rect">
            <a:avLst/>
          </a:prstGeom>
          <a:gradFill flip="none" rotWithShape="1">
            <a:gsLst>
              <a:gs pos="0">
                <a:srgbClr val="CCCCCC">
                  <a:lumMod val="40000"/>
                  <a:lumOff val="60000"/>
                  <a:alpha val="0"/>
                </a:srgbClr>
              </a:gs>
              <a:gs pos="41000">
                <a:srgbClr val="CCCCCC">
                  <a:lumMod val="20000"/>
                  <a:lumOff val="80000"/>
                </a:srgbClr>
              </a:gs>
            </a:gsLst>
            <a:lin ang="0" scaled="0"/>
            <a:tileRect/>
          </a:gradFill>
          <a:ln w="317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800" kern="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7B2B8F6B-E32F-1509-94B7-FB5EE13BDAB2}"/>
              </a:ext>
            </a:extLst>
          </p:cNvPr>
          <p:cNvSpPr/>
          <p:nvPr/>
        </p:nvSpPr>
        <p:spPr bwMode="ltGray">
          <a:xfrm>
            <a:off x="501393" y="2053585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Bruno Nessler Stiftung 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FAAE5035-6F03-A443-3D6B-52397F2AF7C6}"/>
              </a:ext>
            </a:extLst>
          </p:cNvPr>
          <p:cNvSpPr txBox="1"/>
          <p:nvPr/>
        </p:nvSpPr>
        <p:spPr>
          <a:xfrm>
            <a:off x="501393" y="2372265"/>
            <a:ext cx="80759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dirty="0">
                <a:latin typeface="+mj-lt"/>
              </a:rPr>
              <a:t>Kuratoriumssitzung 29.2.24 stattgefunden</a:t>
            </a:r>
          </a:p>
          <a:p>
            <a:pPr marL="285750" indent="-285750" algn="just" hangingPunct="0">
              <a:buFont typeface="Wingdings" panose="05000000000000000000" pitchFamily="2" charset="2"/>
              <a:buChar char="§"/>
            </a:pPr>
            <a:r>
              <a:rPr lang="de-DE" dirty="0" err="1">
                <a:latin typeface="+mj-lt"/>
              </a:rPr>
              <a:t>Durchsprache</a:t>
            </a:r>
            <a:r>
              <a:rPr lang="de-DE" dirty="0">
                <a:latin typeface="+mj-lt"/>
              </a:rPr>
              <a:t> der Jahresabschlüsse 2021 / 2022</a:t>
            </a:r>
          </a:p>
        </p:txBody>
      </p:sp>
    </p:spTree>
    <p:extLst>
      <p:ext uri="{BB962C8B-B14F-4D97-AF65-F5344CB8AC3E}">
        <p14:creationId xmlns:p14="http://schemas.microsoft.com/office/powerpoint/2010/main" val="38576704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k.DLH5yEaRo9bMPU3C6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Ipx6QxwUCEnXnenMd7pg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71M_Brand_Care">
  <a:themeElements>
    <a:clrScheme name="71M_Brand_Care 1">
      <a:dk1>
        <a:srgbClr val="464646"/>
      </a:dk1>
      <a:lt1>
        <a:srgbClr val="FFFFFF"/>
      </a:lt1>
      <a:dk2>
        <a:srgbClr val="464646"/>
      </a:dk2>
      <a:lt2>
        <a:srgbClr val="AEAEAE"/>
      </a:lt2>
      <a:accent1>
        <a:srgbClr val="CCCCCC"/>
      </a:accent1>
      <a:accent2>
        <a:srgbClr val="E00000"/>
      </a:accent2>
      <a:accent3>
        <a:srgbClr val="FFFFFF"/>
      </a:accent3>
      <a:accent4>
        <a:srgbClr val="3A3A3A"/>
      </a:accent4>
      <a:accent5>
        <a:srgbClr val="E2E2E2"/>
      </a:accent5>
      <a:accent6>
        <a:srgbClr val="CB0000"/>
      </a:accent6>
      <a:hlink>
        <a:srgbClr val="E00000"/>
      </a:hlink>
      <a:folHlink>
        <a:srgbClr val="969696"/>
      </a:folHlink>
    </a:clrScheme>
    <a:fontScheme name="71M_Brand_Car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1M_Brand_Care 1">
        <a:dk1>
          <a:srgbClr val="464646"/>
        </a:dk1>
        <a:lt1>
          <a:srgbClr val="FFFFFF"/>
        </a:lt1>
        <a:dk2>
          <a:srgbClr val="464646"/>
        </a:dk2>
        <a:lt2>
          <a:srgbClr val="AEAEAE"/>
        </a:lt2>
        <a:accent1>
          <a:srgbClr val="CCCCCC"/>
        </a:accent1>
        <a:accent2>
          <a:srgbClr val="E00000"/>
        </a:accent2>
        <a:accent3>
          <a:srgbClr val="FFFFFF"/>
        </a:accent3>
        <a:accent4>
          <a:srgbClr val="3A3A3A"/>
        </a:accent4>
        <a:accent5>
          <a:srgbClr val="E2E2E2"/>
        </a:accent5>
        <a:accent6>
          <a:srgbClr val="CB0000"/>
        </a:accent6>
        <a:hlink>
          <a:srgbClr val="E0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EF1D07C96AA3D4791E983E14F34C5D2" ma:contentTypeVersion="14" ma:contentTypeDescription="Ein neues Dokument erstellen." ma:contentTypeScope="" ma:versionID="743ad9bf70d25e3e8d6c871c9b6698a9">
  <xsd:schema xmlns:xsd="http://www.w3.org/2001/XMLSchema" xmlns:xs="http://www.w3.org/2001/XMLSchema" xmlns:p="http://schemas.microsoft.com/office/2006/metadata/properties" xmlns:ns2="c3ea8d3e-bae2-46c1-8893-b460cfa94b02" xmlns:ns3="d37a1a3c-cd3b-44e5-ba5a-1d9414d17f5e" targetNamespace="http://schemas.microsoft.com/office/2006/metadata/properties" ma:root="true" ma:fieldsID="14e67432c9d35111488168aef285f0e7" ns2:_="" ns3:_="">
    <xsd:import namespace="c3ea8d3e-bae2-46c1-8893-b460cfa94b02"/>
    <xsd:import namespace="d37a1a3c-cd3b-44e5-ba5a-1d9414d17f5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Location" minOccurs="0"/>
                <xsd:element ref="ns2:lcf76f155ced4ddcb4097134ff3c332f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ea8d3e-bae2-46c1-8893-b460cfa94b0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5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description="" ma:indexed="true" ma:internalName="MediaServiceLocation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Bildmarkierungen" ma:readOnly="false" ma:fieldId="{5cf76f15-5ced-4ddc-b409-7134ff3c332f}" ma:taxonomyMulti="true" ma:sspId="4accecfd-9499-47ac-971c-051bc23e91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7a1a3c-cd3b-44e5-ba5a-1d9414d17f5e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3ea8d3e-bae2-46c1-8893-b460cfa94b02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D811570D-39B2-4050-AE96-CF7E8BA8E58C}"/>
</file>

<file path=customXml/itemProps2.xml><?xml version="1.0" encoding="utf-8"?>
<ds:datastoreItem xmlns:ds="http://schemas.openxmlformats.org/officeDocument/2006/customXml" ds:itemID="{8E93E106-7839-4574-92A5-1318DA372BE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1957598-99BA-40DB-B49F-34B3925A1392}">
  <ds:schemaRefs>
    <ds:schemaRef ds:uri="c3ea8d3e-bae2-46c1-8893-b460cfa94b02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44</Words>
  <Application>Microsoft Office PowerPoint</Application>
  <PresentationFormat>Bildschirmpräsentation (16:9)</PresentationFormat>
  <Paragraphs>225</Paragraphs>
  <Slides>24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24</vt:i4>
      </vt:variant>
    </vt:vector>
  </HeadingPairs>
  <TitlesOfParts>
    <vt:vector size="34" baseType="lpstr">
      <vt:lpstr>Arial</vt:lpstr>
      <vt:lpstr>Calibri</vt:lpstr>
      <vt:lpstr>Compasse</vt:lpstr>
      <vt:lpstr>Symbol</vt:lpstr>
      <vt:lpstr>Wingdings</vt:lpstr>
      <vt:lpstr>Larissa</vt:lpstr>
      <vt:lpstr>2_71M_Brand_Care</vt:lpstr>
      <vt:lpstr>2_Benutzerdefiniertes Design</vt:lpstr>
      <vt:lpstr>think-cell Slide</vt:lpstr>
      <vt:lpstr>Worksheet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indows-Benutzer</dc:creator>
  <cp:lastModifiedBy>Harsch Mariella</cp:lastModifiedBy>
  <cp:revision>2</cp:revision>
  <cp:lastPrinted>2023-09-04T07:35:20Z</cp:lastPrinted>
  <dcterms:created xsi:type="dcterms:W3CDTF">2020-02-04T21:52:52Z</dcterms:created>
  <dcterms:modified xsi:type="dcterms:W3CDTF">2024-05-23T16:3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F1D07C96AA3D4791E983E14F34C5D2</vt:lpwstr>
  </property>
  <property fmtid="{D5CDD505-2E9C-101B-9397-08002B2CF9AE}" pid="3" name="MediaServiceImageTags">
    <vt:lpwstr/>
  </property>
</Properties>
</file>